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8" r:id="rId2"/>
    <p:sldMasterId id="2147483725" r:id="rId3"/>
    <p:sldMasterId id="2147483755" r:id="rId4"/>
  </p:sldMasterIdLst>
  <p:notesMasterIdLst>
    <p:notesMasterId r:id="rId38"/>
  </p:notesMasterIdLst>
  <p:sldIdLst>
    <p:sldId id="266" r:id="rId5"/>
    <p:sldId id="842" r:id="rId6"/>
    <p:sldId id="267" r:id="rId7"/>
    <p:sldId id="2147482870" r:id="rId8"/>
    <p:sldId id="2147482911" r:id="rId9"/>
    <p:sldId id="2147482943" r:id="rId10"/>
    <p:sldId id="2147482915" r:id="rId11"/>
    <p:sldId id="2147482922" r:id="rId12"/>
    <p:sldId id="2147482923" r:id="rId13"/>
    <p:sldId id="2147482919" r:id="rId14"/>
    <p:sldId id="2147482920" r:id="rId15"/>
    <p:sldId id="2147482924" r:id="rId16"/>
    <p:sldId id="2147482925" r:id="rId17"/>
    <p:sldId id="2147482926" r:id="rId18"/>
    <p:sldId id="2147482927" r:id="rId19"/>
    <p:sldId id="2147482928" r:id="rId20"/>
    <p:sldId id="2147482929" r:id="rId21"/>
    <p:sldId id="2147482930" r:id="rId22"/>
    <p:sldId id="2147482931" r:id="rId23"/>
    <p:sldId id="2147482932" r:id="rId24"/>
    <p:sldId id="2147482933" r:id="rId25"/>
    <p:sldId id="2147482934" r:id="rId26"/>
    <p:sldId id="2147482935" r:id="rId27"/>
    <p:sldId id="2147482936" r:id="rId28"/>
    <p:sldId id="2147482937" r:id="rId29"/>
    <p:sldId id="2147482938" r:id="rId30"/>
    <p:sldId id="2147482939" r:id="rId31"/>
    <p:sldId id="2147482940" r:id="rId32"/>
    <p:sldId id="2147482941" r:id="rId33"/>
    <p:sldId id="2147482942" r:id="rId34"/>
    <p:sldId id="352" r:id="rId35"/>
    <p:sldId id="841" r:id="rId36"/>
    <p:sldId id="316" r:id="rId3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5A73684-4E76-438D-8D98-6736059C096C}">
          <p14:sldIdLst>
            <p14:sldId id="266"/>
            <p14:sldId id="842"/>
            <p14:sldId id="267"/>
            <p14:sldId id="2147482870"/>
            <p14:sldId id="2147482911"/>
            <p14:sldId id="2147482943"/>
            <p14:sldId id="2147482915"/>
          </p14:sldIdLst>
        </p14:section>
        <p14:section name="Benefits Triple process" id="{8FD0731D-783A-4CDE-A777-3E6BD319BE87}">
          <p14:sldIdLst>
            <p14:sldId id="2147482922"/>
            <p14:sldId id="2147482923"/>
          </p14:sldIdLst>
        </p14:section>
        <p14:section name="Summer insurance for Grads" id="{566FC7C3-FD89-45A1-9B2E-79503992294D}">
          <p14:sldIdLst>
            <p14:sldId id="2147482919"/>
            <p14:sldId id="2147482920"/>
          </p14:sldIdLst>
        </p14:section>
        <p14:section name="Fixed-Term Renewals" id="{255DE1EB-8024-4F28-BDA6-C4287E677505}">
          <p14:sldIdLst>
            <p14:sldId id="2147482924"/>
            <p14:sldId id="2147482925"/>
            <p14:sldId id="2147482926"/>
            <p14:sldId id="2147482927"/>
          </p14:sldIdLst>
        </p14:section>
        <p14:section name="How to Use the FTR App" id="{CFDED1F6-81BC-46B3-BECC-449AC495D140}">
          <p14:sldIdLst>
            <p14:sldId id="2147482928"/>
            <p14:sldId id="2147482929"/>
            <p14:sldId id="2147482930"/>
            <p14:sldId id="2147482931"/>
            <p14:sldId id="2147482932"/>
            <p14:sldId id="2147482933"/>
            <p14:sldId id="2147482934"/>
            <p14:sldId id="2147482935"/>
            <p14:sldId id="2147482936"/>
          </p14:sldIdLst>
        </p14:section>
        <p14:section name="Decision-Making Guidance" id="{F8E4F736-A611-453C-87BD-07F092291F6F}">
          <p14:sldIdLst>
            <p14:sldId id="2147482937"/>
            <p14:sldId id="2147482938"/>
            <p14:sldId id="2147482939"/>
            <p14:sldId id="2147482940"/>
            <p14:sldId id="2147482941"/>
            <p14:sldId id="2147482942"/>
            <p14:sldId id="352"/>
          </p14:sldIdLst>
        </p14:section>
        <p14:section name="Decision-Making Guidance" id="{D3D63D08-7BEB-42F5-B92A-E0B94D24FC30}">
          <p14:sldIdLst>
            <p14:sldId id="841"/>
            <p14:sldId id="31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C6A8498-23FD-7428-9E47-33DB70BA6D2B}" name="Larsen, Trudy" initials="LT" userId="S::larsentr@oregonstate.edu::fa501139-2f47-4b1e-a59a-9523a2a23c8a" providerId="AD"/>
  <p188:author id="{E0C07ECE-5D8C-A5F7-C0F3-4D04CC3BC77B}" name="Kilgore, Megan" initials="MK" userId="S::kilgorme@oregonstate.edu::34440d79-2c96-4b54-a201-36c51a271c52" providerId="AD"/>
  <p188:author id="{00B827F5-D4FD-A005-F490-EF500F5FFA09}" name="Ray, Bonny" initials="BR" userId="S::raybo@oregonstate.edu::a5a4789d-1322-4fff-bc28-0b687a78831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orslund, Rachel" initials="FR" lastIdx="4" clrIdx="0">
    <p:extLst>
      <p:ext uri="{19B8F6BF-5375-455C-9EA6-DF929625EA0E}">
        <p15:presenceInfo xmlns:p15="http://schemas.microsoft.com/office/powerpoint/2012/main" userId="S-1-5-21-828376571-1197701538-1844936127-3114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3F09"/>
    <a:srgbClr val="00859B"/>
    <a:srgbClr val="E8580A"/>
    <a:srgbClr val="C4D6A4"/>
    <a:srgbClr val="F29E66"/>
    <a:srgbClr val="6C1F04"/>
    <a:srgbClr val="A12F07"/>
    <a:srgbClr val="E8581E"/>
    <a:srgbClr val="4A773C"/>
    <a:srgbClr val="E86C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2FDA24-9EB0-4946-A5E2-181D2A30833E}" v="18" dt="2026-04-15T23:31:47.527"/>
    <p1510:client id="{BC1902E2-C8F2-4E68-9796-4888555D39DC}" v="1" dt="2026-04-14T15:48:45.6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33" autoAdjust="0"/>
    <p:restoredTop sz="94660"/>
  </p:normalViewPr>
  <p:slideViewPr>
    <p:cSldViewPr snapToGrid="0">
      <p:cViewPr varScale="1">
        <p:scale>
          <a:sx n="105" d="100"/>
          <a:sy n="105" d="100"/>
        </p:scale>
        <p:origin x="516" y="96"/>
      </p:cViewPr>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8/10/relationships/authors" Target="authors.xml"/><Relationship Id="rId20" Type="http://schemas.openxmlformats.org/officeDocument/2006/relationships/slide" Target="slides/slide16.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enyn Santiago" userId="YxEoguYkXRxWvO7eG7Cf56Nr1DqZvF+0Xp4dys32fVE=" providerId="None" clId="Web-{BC1902E2-C8F2-4E68-9796-4888555D39DC}"/>
    <pc:docChg chg="modSld">
      <pc:chgData name="Keenyn Santiago" userId="YxEoguYkXRxWvO7eG7Cf56Nr1DqZvF+0Xp4dys32fVE=" providerId="None" clId="Web-{BC1902E2-C8F2-4E68-9796-4888555D39DC}" dt="2026-04-14T15:48:45.607" v="0" actId="1076"/>
      <pc:docMkLst>
        <pc:docMk/>
      </pc:docMkLst>
      <pc:sldChg chg="modSp">
        <pc:chgData name="Keenyn Santiago" userId="YxEoguYkXRxWvO7eG7Cf56Nr1DqZvF+0Xp4dys32fVE=" providerId="None" clId="Web-{BC1902E2-C8F2-4E68-9796-4888555D39DC}" dt="2026-04-14T15:48:45.607" v="0" actId="1076"/>
        <pc:sldMkLst>
          <pc:docMk/>
          <pc:sldMk cId="1945333487" sldId="2147482915"/>
        </pc:sldMkLst>
        <pc:spChg chg="mod">
          <ac:chgData name="Keenyn Santiago" userId="YxEoguYkXRxWvO7eG7Cf56Nr1DqZvF+0Xp4dys32fVE=" providerId="None" clId="Web-{BC1902E2-C8F2-4E68-9796-4888555D39DC}" dt="2026-04-14T15:48:45.607" v="0" actId="1076"/>
          <ac:spMkLst>
            <pc:docMk/>
            <pc:sldMk cId="1945333487" sldId="2147482915"/>
            <ac:spMk id="11" creationId="{F0CA16EC-A70D-C672-CD6A-D284B729A539}"/>
          </ac:spMkLst>
        </pc:spChg>
      </pc:sldChg>
    </pc:docChg>
  </pc:docChgLst>
  <pc:docChgLst>
    <pc:chgData name="Brittany R McDonald" userId="182ILz0QlAHOO9E1VxhYKH73KCoVr+BVrFwTcel+7F4=" providerId="None" clId="Web-{B12FDA24-9EB0-4946-A5E2-181D2A30833E}"/>
    <pc:docChg chg="modSld">
      <pc:chgData name="Brittany R McDonald" userId="182ILz0QlAHOO9E1VxhYKH73KCoVr+BVrFwTcel+7F4=" providerId="None" clId="Web-{B12FDA24-9EB0-4946-A5E2-181D2A30833E}" dt="2026-04-15T23:31:47.293" v="16" actId="20577"/>
      <pc:docMkLst>
        <pc:docMk/>
      </pc:docMkLst>
      <pc:sldChg chg="modSp">
        <pc:chgData name="Brittany R McDonald" userId="182ILz0QlAHOO9E1VxhYKH73KCoVr+BVrFwTcel+7F4=" providerId="None" clId="Web-{B12FDA24-9EB0-4946-A5E2-181D2A30833E}" dt="2026-04-15T23:31:47.293" v="16" actId="20577"/>
        <pc:sldMkLst>
          <pc:docMk/>
          <pc:sldMk cId="1382688327" sldId="2147482923"/>
        </pc:sldMkLst>
        <pc:spChg chg="mod">
          <ac:chgData name="Brittany R McDonald" userId="182ILz0QlAHOO9E1VxhYKH73KCoVr+BVrFwTcel+7F4=" providerId="None" clId="Web-{B12FDA24-9EB0-4946-A5E2-181D2A30833E}" dt="2026-04-15T23:31:47.293" v="16" actId="20577"/>
          <ac:spMkLst>
            <pc:docMk/>
            <pc:sldMk cId="1382688327" sldId="2147482923"/>
            <ac:spMk id="4" creationId="{F8E6972C-36C3-4EEE-ABE8-3B3EF3FCCE9A}"/>
          </ac:spMkLst>
        </pc:spChg>
      </pc:sldChg>
    </pc:docChg>
  </pc:docChgLst>
  <pc:docChgLst>
    <pc:chgData name="Audrey Roberson" userId="1X59+hSrC2mK3vMmtkUWvriLWrZ04I2oH3h4Ym48yFc=" providerId="None" clId="Web-{628FDD18-4934-41CF-9DE4-3468BAD2630B}"/>
    <pc:docChg chg="addSld modSld modSection">
      <pc:chgData name="Audrey Roberson" userId="1X59+hSrC2mK3vMmtkUWvriLWrZ04I2oH3h4Ym48yFc=" providerId="None" clId="Web-{628FDD18-4934-41CF-9DE4-3468BAD2630B}" dt="2026-04-03T00:12:02.721" v="980" actId="20577"/>
      <pc:docMkLst>
        <pc:docMk/>
      </pc:docMkLst>
      <pc:sldChg chg="addSp delSp modSp">
        <pc:chgData name="Audrey Roberson" userId="1X59+hSrC2mK3vMmtkUWvriLWrZ04I2oH3h4Ym48yFc=" providerId="None" clId="Web-{628FDD18-4934-41CF-9DE4-3468BAD2630B}" dt="2026-04-03T00:10:40.064" v="935" actId="20577"/>
        <pc:sldMkLst>
          <pc:docMk/>
          <pc:sldMk cId="1817879059" sldId="2147482919"/>
        </pc:sldMkLst>
        <pc:spChg chg="mod">
          <ac:chgData name="Audrey Roberson" userId="1X59+hSrC2mK3vMmtkUWvriLWrZ04I2oH3h4Ym48yFc=" providerId="None" clId="Web-{628FDD18-4934-41CF-9DE4-3468BAD2630B}" dt="2026-04-02T23:52:39.790" v="842" actId="20577"/>
          <ac:spMkLst>
            <pc:docMk/>
            <pc:sldMk cId="1817879059" sldId="2147482919"/>
            <ac:spMk id="2" creationId="{38DCD8CE-6D43-27BE-1DF4-2EF55F87386D}"/>
          </ac:spMkLst>
        </pc:spChg>
        <pc:spChg chg="mod">
          <ac:chgData name="Audrey Roberson" userId="1X59+hSrC2mK3vMmtkUWvriLWrZ04I2oH3h4Ym48yFc=" providerId="None" clId="Web-{628FDD18-4934-41CF-9DE4-3468BAD2630B}" dt="2026-04-03T00:10:40.064" v="935" actId="20577"/>
          <ac:spMkLst>
            <pc:docMk/>
            <pc:sldMk cId="1817879059" sldId="2147482919"/>
            <ac:spMk id="4" creationId="{12860473-C962-7826-0328-9BFD750CF046}"/>
          </ac:spMkLst>
        </pc:spChg>
        <pc:picChg chg="add mod ord">
          <ac:chgData name="Audrey Roberson" userId="1X59+hSrC2mK3vMmtkUWvriLWrZ04I2oH3h4Ym48yFc=" providerId="None" clId="Web-{628FDD18-4934-41CF-9DE4-3468BAD2630B}" dt="2026-04-02T23:04:40.392" v="11"/>
          <ac:picMkLst>
            <pc:docMk/>
            <pc:sldMk cId="1817879059" sldId="2147482919"/>
            <ac:picMk id="3" creationId="{197F6BCD-3EE7-CDDE-231F-9100E7466413}"/>
          </ac:picMkLst>
        </pc:picChg>
      </pc:sldChg>
      <pc:sldChg chg="modSp add replId">
        <pc:chgData name="Audrey Roberson" userId="1X59+hSrC2mK3vMmtkUWvriLWrZ04I2oH3h4Ym48yFc=" providerId="None" clId="Web-{628FDD18-4934-41CF-9DE4-3468BAD2630B}" dt="2026-04-03T00:12:02.721" v="980" actId="20577"/>
        <pc:sldMkLst>
          <pc:docMk/>
          <pc:sldMk cId="2776607742" sldId="2147482920"/>
        </pc:sldMkLst>
        <pc:spChg chg="mod">
          <ac:chgData name="Audrey Roberson" userId="1X59+hSrC2mK3vMmtkUWvriLWrZ04I2oH3h4Ym48yFc=" providerId="None" clId="Web-{628FDD18-4934-41CF-9DE4-3468BAD2630B}" dt="2026-04-03T00:11:37.330" v="976" actId="20577"/>
          <ac:spMkLst>
            <pc:docMk/>
            <pc:sldMk cId="2776607742" sldId="2147482920"/>
            <ac:spMk id="2" creationId="{8D8E5581-7DFE-8896-CAE6-6C829EF357CB}"/>
          </ac:spMkLst>
        </pc:spChg>
        <pc:spChg chg="mod">
          <ac:chgData name="Audrey Roberson" userId="1X59+hSrC2mK3vMmtkUWvriLWrZ04I2oH3h4Ym48yFc=" providerId="None" clId="Web-{628FDD18-4934-41CF-9DE4-3468BAD2630B}" dt="2026-04-03T00:12:02.721" v="980" actId="20577"/>
          <ac:spMkLst>
            <pc:docMk/>
            <pc:sldMk cId="2776607742" sldId="2147482920"/>
            <ac:spMk id="4" creationId="{CD9E3586-C206-EEEE-EADA-C48640B871F5}"/>
          </ac:spMkLst>
        </pc:spChg>
      </pc:sldChg>
    </pc:docChg>
  </pc:docChgLst>
  <pc:docChgLst>
    <pc:chgData name="Keenyn Santiago" userId="YxEoguYkXRxWvO7eG7Cf56Nr1DqZvF+0Xp4dys32fVE=" providerId="None" clId="Web-{5BA68F0B-0498-4824-957D-120ADACF22E3}"/>
    <pc:docChg chg="modSld">
      <pc:chgData name="Keenyn Santiago" userId="YxEoguYkXRxWvO7eG7Cf56Nr1DqZvF+0Xp4dys32fVE=" providerId="None" clId="Web-{5BA68F0B-0498-4824-957D-120ADACF22E3}" dt="2026-03-30T21:49:15.763" v="68" actId="1076"/>
      <pc:docMkLst>
        <pc:docMk/>
      </pc:docMkLst>
      <pc:sldChg chg="modSp">
        <pc:chgData name="Keenyn Santiago" userId="YxEoguYkXRxWvO7eG7Cf56Nr1DqZvF+0Xp4dys32fVE=" providerId="None" clId="Web-{5BA68F0B-0498-4824-957D-120ADACF22E3}" dt="2026-03-30T21:49:15.763" v="68" actId="1076"/>
        <pc:sldMkLst>
          <pc:docMk/>
          <pc:sldMk cId="1945333487" sldId="2147482915"/>
        </pc:sldMkLst>
        <pc:spChg chg="mod">
          <ac:chgData name="Keenyn Santiago" userId="YxEoguYkXRxWvO7eG7Cf56Nr1DqZvF+0Xp4dys32fVE=" providerId="None" clId="Web-{5BA68F0B-0498-4824-957D-120ADACF22E3}" dt="2026-03-30T21:49:04.324" v="67" actId="14100"/>
          <ac:spMkLst>
            <pc:docMk/>
            <pc:sldMk cId="1945333487" sldId="2147482915"/>
            <ac:spMk id="3" creationId="{5EF78162-ADF9-63C0-F832-F8A11F4A2F1E}"/>
          </ac:spMkLst>
        </pc:spChg>
        <pc:picChg chg="mod">
          <ac:chgData name="Keenyn Santiago" userId="YxEoguYkXRxWvO7eG7Cf56Nr1DqZvF+0Xp4dys32fVE=" providerId="None" clId="Web-{5BA68F0B-0498-4824-957D-120ADACF22E3}" dt="2026-03-30T21:49:15.763" v="68" actId="1076"/>
          <ac:picMkLst>
            <pc:docMk/>
            <pc:sldMk cId="1945333487" sldId="2147482915"/>
            <ac:picMk id="10" creationId="{9C7FCE9B-A3FB-C844-F128-086E4C33FFD9}"/>
          </ac:picMkLst>
        </pc:picChg>
      </pc:sldChg>
    </pc:docChg>
  </pc:docChgLst>
  <pc:docChgLst>
    <pc:chgData name="Keenyn Santiago" userId="YxEoguYkXRxWvO7eG7Cf56Nr1DqZvF+0Xp4dys32fVE=" providerId="None" clId="Web-{A2000B8F-F384-4CC3-B4AD-CA2214A313A8}"/>
    <pc:docChg chg="modSld">
      <pc:chgData name="Keenyn Santiago" userId="YxEoguYkXRxWvO7eG7Cf56Nr1DqZvF+0Xp4dys32fVE=" providerId="None" clId="Web-{A2000B8F-F384-4CC3-B4AD-CA2214A313A8}" dt="2026-03-31T21:53:16.879" v="27" actId="20577"/>
      <pc:docMkLst>
        <pc:docMk/>
      </pc:docMkLst>
      <pc:sldChg chg="modSp">
        <pc:chgData name="Keenyn Santiago" userId="YxEoguYkXRxWvO7eG7Cf56Nr1DqZvF+0Xp4dys32fVE=" providerId="None" clId="Web-{A2000B8F-F384-4CC3-B4AD-CA2214A313A8}" dt="2026-03-31T21:53:16.879" v="27" actId="20577"/>
        <pc:sldMkLst>
          <pc:docMk/>
          <pc:sldMk cId="1945333487" sldId="2147482915"/>
        </pc:sldMkLst>
        <pc:spChg chg="mod">
          <ac:chgData name="Keenyn Santiago" userId="YxEoguYkXRxWvO7eG7Cf56Nr1DqZvF+0Xp4dys32fVE=" providerId="None" clId="Web-{A2000B8F-F384-4CC3-B4AD-CA2214A313A8}" dt="2026-03-31T21:53:16.879" v="27" actId="20577"/>
          <ac:spMkLst>
            <pc:docMk/>
            <pc:sldMk cId="1945333487" sldId="2147482915"/>
            <ac:spMk id="6" creationId="{AF8D4013-7B8B-011D-222A-B37363D9EE12}"/>
          </ac:spMkLst>
        </pc:spChg>
      </pc:sldChg>
    </pc:docChg>
  </pc:docChgLst>
  <pc:docChgLst>
    <pc:chgData name="Meg Kilgore" userId="S3ajqeMxrYxo3ItqTIzud3O8EPp9C9F+TX6ke+dzwPk=" providerId="None" clId="Web-{0F35FA1A-151E-4304-A193-77C8BDA548F2}"/>
    <pc:docChg chg="modSld">
      <pc:chgData name="Meg Kilgore" userId="S3ajqeMxrYxo3ItqTIzud3O8EPp9C9F+TX6ke+dzwPk=" providerId="None" clId="Web-{0F35FA1A-151E-4304-A193-77C8BDA548F2}" dt="2026-04-06T22:05:33.889" v="3" actId="20577"/>
      <pc:docMkLst>
        <pc:docMk/>
      </pc:docMkLst>
      <pc:sldChg chg="modSp">
        <pc:chgData name="Meg Kilgore" userId="S3ajqeMxrYxo3ItqTIzud3O8EPp9C9F+TX6ke+dzwPk=" providerId="None" clId="Web-{0F35FA1A-151E-4304-A193-77C8BDA548F2}" dt="2026-04-06T22:05:33.889" v="3" actId="20577"/>
        <pc:sldMkLst>
          <pc:docMk/>
          <pc:sldMk cId="4231928049" sldId="267"/>
        </pc:sldMkLst>
        <pc:spChg chg="mod">
          <ac:chgData name="Meg Kilgore" userId="S3ajqeMxrYxo3ItqTIzud3O8EPp9C9F+TX6ke+dzwPk=" providerId="None" clId="Web-{0F35FA1A-151E-4304-A193-77C8BDA548F2}" dt="2026-04-06T22:05:33.889" v="3" actId="20577"/>
          <ac:spMkLst>
            <pc:docMk/>
            <pc:sldMk cId="4231928049" sldId="267"/>
            <ac:spMk id="4" creationId="{13923E9E-B63C-E87E-A001-0A00AA0D2A77}"/>
          </ac:spMkLst>
        </pc:spChg>
      </pc:sldChg>
    </pc:docChg>
  </pc:docChgLst>
  <pc:docChgLst>
    <pc:chgData name="Keenyn Santiago" userId="YxEoguYkXRxWvO7eG7Cf56Nr1DqZvF+0Xp4dys32fVE=" providerId="None" clId="Web-{329943C7-8BBB-4275-8890-920CD3F235ED}"/>
    <pc:docChg chg="modSld">
      <pc:chgData name="Keenyn Santiago" userId="YxEoguYkXRxWvO7eG7Cf56Nr1DqZvF+0Xp4dys32fVE=" providerId="None" clId="Web-{329943C7-8BBB-4275-8890-920CD3F235ED}" dt="2026-03-30T20:35:28.486" v="1078" actId="1076"/>
      <pc:docMkLst>
        <pc:docMk/>
      </pc:docMkLst>
      <pc:sldChg chg="addSp delSp modSp">
        <pc:chgData name="Keenyn Santiago" userId="YxEoguYkXRxWvO7eG7Cf56Nr1DqZvF+0Xp4dys32fVE=" providerId="None" clId="Web-{329943C7-8BBB-4275-8890-920CD3F235ED}" dt="2026-03-30T20:35:28.486" v="1078" actId="1076"/>
        <pc:sldMkLst>
          <pc:docMk/>
          <pc:sldMk cId="1945333487" sldId="2147482915"/>
        </pc:sldMkLst>
        <pc:spChg chg="add mod">
          <ac:chgData name="Keenyn Santiago" userId="YxEoguYkXRxWvO7eG7Cf56Nr1DqZvF+0Xp4dys32fVE=" providerId="None" clId="Web-{329943C7-8BBB-4275-8890-920CD3F235ED}" dt="2026-03-30T20:31:29.062" v="1013" actId="1076"/>
          <ac:spMkLst>
            <pc:docMk/>
            <pc:sldMk cId="1945333487" sldId="2147482915"/>
            <ac:spMk id="3" creationId="{5EF78162-ADF9-63C0-F832-F8A11F4A2F1E}"/>
          </ac:spMkLst>
        </pc:spChg>
        <pc:spChg chg="mod">
          <ac:chgData name="Keenyn Santiago" userId="YxEoguYkXRxWvO7eG7Cf56Nr1DqZvF+0Xp4dys32fVE=" providerId="None" clId="Web-{329943C7-8BBB-4275-8890-920CD3F235ED}" dt="2026-03-30T20:35:03.142" v="1069" actId="1076"/>
          <ac:spMkLst>
            <pc:docMk/>
            <pc:sldMk cId="1945333487" sldId="2147482915"/>
            <ac:spMk id="4" creationId="{A8A4FA0F-85BF-4BB0-82C7-0B30D1BB6CD6}"/>
          </ac:spMkLst>
        </pc:spChg>
        <pc:spChg chg="add mod">
          <ac:chgData name="Keenyn Santiago" userId="YxEoguYkXRxWvO7eG7Cf56Nr1DqZvF+0Xp4dys32fVE=" providerId="None" clId="Web-{329943C7-8BBB-4275-8890-920CD3F235ED}" dt="2026-03-30T20:34:45.173" v="1066" actId="1076"/>
          <ac:spMkLst>
            <pc:docMk/>
            <pc:sldMk cId="1945333487" sldId="2147482915"/>
            <ac:spMk id="6" creationId="{AF8D4013-7B8B-011D-222A-B37363D9EE12}"/>
          </ac:spMkLst>
        </pc:spChg>
        <pc:spChg chg="add mod">
          <ac:chgData name="Keenyn Santiago" userId="YxEoguYkXRxWvO7eG7Cf56Nr1DqZvF+0Xp4dys32fVE=" providerId="None" clId="Web-{329943C7-8BBB-4275-8890-920CD3F235ED}" dt="2026-03-30T20:35:28.486" v="1078" actId="1076"/>
          <ac:spMkLst>
            <pc:docMk/>
            <pc:sldMk cId="1945333487" sldId="2147482915"/>
            <ac:spMk id="9" creationId="{0CB4D1A1-B15F-09B4-BF44-417C3DA33BAE}"/>
          </ac:spMkLst>
        </pc:spChg>
        <pc:spChg chg="add mod">
          <ac:chgData name="Keenyn Santiago" userId="YxEoguYkXRxWvO7eG7Cf56Nr1DqZvF+0Xp4dys32fVE=" providerId="None" clId="Web-{329943C7-8BBB-4275-8890-920CD3F235ED}" dt="2026-03-30T20:34:52.751" v="1068" actId="20577"/>
          <ac:spMkLst>
            <pc:docMk/>
            <pc:sldMk cId="1945333487" sldId="2147482915"/>
            <ac:spMk id="11" creationId="{F0CA16EC-A70D-C672-CD6A-D284B729A539}"/>
          </ac:spMkLst>
        </pc:spChg>
        <pc:picChg chg="add mod ord">
          <ac:chgData name="Keenyn Santiago" userId="YxEoguYkXRxWvO7eG7Cf56Nr1DqZvF+0Xp4dys32fVE=" providerId="None" clId="Web-{329943C7-8BBB-4275-8890-920CD3F235ED}" dt="2026-03-30T20:33:56.313" v="1033"/>
          <ac:picMkLst>
            <pc:docMk/>
            <pc:sldMk cId="1945333487" sldId="2147482915"/>
            <ac:picMk id="10" creationId="{9C7FCE9B-A3FB-C844-F128-086E4C33FFD9}"/>
          </ac:picMkLst>
        </pc:picChg>
      </pc:sldChg>
    </pc:docChg>
  </pc:docChgLst>
  <pc:docChgLst>
    <pc:chgData name="Brittany R McDonald" userId="182ILz0QlAHOO9E1VxhYKH73KCoVr+BVrFwTcel+7F4=" providerId="None" clId="Web-{F5DCF69B-7493-4571-8C03-99718B40FB77}"/>
    <pc:docChg chg="modSld">
      <pc:chgData name="Brittany R McDonald" userId="182ILz0QlAHOO9E1VxhYKH73KCoVr+BVrFwTcel+7F4=" providerId="None" clId="Web-{F5DCF69B-7493-4571-8C03-99718B40FB77}" dt="2026-04-07T19:02:11.087" v="7" actId="20577"/>
      <pc:docMkLst>
        <pc:docMk/>
      </pc:docMkLst>
      <pc:sldChg chg="modSp">
        <pc:chgData name="Brittany R McDonald" userId="182ILz0QlAHOO9E1VxhYKH73KCoVr+BVrFwTcel+7F4=" providerId="None" clId="Web-{F5DCF69B-7493-4571-8C03-99718B40FB77}" dt="2026-04-07T19:02:11.087" v="7" actId="20577"/>
        <pc:sldMkLst>
          <pc:docMk/>
          <pc:sldMk cId="1708329779" sldId="2147482870"/>
        </pc:sldMkLst>
        <pc:spChg chg="mod">
          <ac:chgData name="Brittany R McDonald" userId="182ILz0QlAHOO9E1VxhYKH73KCoVr+BVrFwTcel+7F4=" providerId="None" clId="Web-{F5DCF69B-7493-4571-8C03-99718B40FB77}" dt="2026-04-07T19:02:11.087" v="7" actId="20577"/>
          <ac:spMkLst>
            <pc:docMk/>
            <pc:sldMk cId="1708329779" sldId="2147482870"/>
            <ac:spMk id="3" creationId="{97A8DAA8-6CCF-45CC-427C-50A65F40B86D}"/>
          </ac:spMkLst>
        </pc:spChg>
      </pc:sldChg>
    </pc:docChg>
  </pc:docChgLst>
  <pc:docChgLst>
    <pc:chgData name="Audrey Roberson" userId="1X59+hSrC2mK3vMmtkUWvriLWrZ04I2oH3h4Ym48yFc=" providerId="None" clId="Web-{FB73BE33-3170-40BC-BC4B-5A0522ED8E58}"/>
    <pc:docChg chg="modSld">
      <pc:chgData name="Audrey Roberson" userId="1X59+hSrC2mK3vMmtkUWvriLWrZ04I2oH3h4Ym48yFc=" providerId="None" clId="Web-{FB73BE33-3170-40BC-BC4B-5A0522ED8E58}" dt="2026-04-13T21:42:09.952" v="1" actId="20577"/>
      <pc:docMkLst>
        <pc:docMk/>
      </pc:docMkLst>
      <pc:sldChg chg="modSp">
        <pc:chgData name="Audrey Roberson" userId="1X59+hSrC2mK3vMmtkUWvriLWrZ04I2oH3h4Ym48yFc=" providerId="None" clId="Web-{FB73BE33-3170-40BC-BC4B-5A0522ED8E58}" dt="2026-04-13T21:42:09.952" v="1" actId="20577"/>
        <pc:sldMkLst>
          <pc:docMk/>
          <pc:sldMk cId="1817879059" sldId="2147482919"/>
        </pc:sldMkLst>
        <pc:spChg chg="mod">
          <ac:chgData name="Audrey Roberson" userId="1X59+hSrC2mK3vMmtkUWvriLWrZ04I2oH3h4Ym48yFc=" providerId="None" clId="Web-{FB73BE33-3170-40BC-BC4B-5A0522ED8E58}" dt="2026-04-13T21:42:09.952" v="1" actId="20577"/>
          <ac:spMkLst>
            <pc:docMk/>
            <pc:sldMk cId="1817879059" sldId="2147482919"/>
            <ac:spMk id="4" creationId="{12860473-C962-7826-0328-9BFD750CF046}"/>
          </ac:spMkLst>
        </pc:spChg>
      </pc:sldChg>
    </pc:docChg>
  </pc:docChgLst>
  <pc:docChgLst>
    <pc:chgData name="Brittany R McDonald" userId="182ILz0QlAHOO9E1VxhYKH73KCoVr+BVrFwTcel+7F4=" providerId="None" clId="Web-{6316DD7F-A75F-471E-A514-4356AAFA7971}"/>
    <pc:docChg chg="addSld modSld modSection">
      <pc:chgData name="Brittany R McDonald" userId="182ILz0QlAHOO9E1VxhYKH73KCoVr+BVrFwTcel+7F4=" providerId="None" clId="Web-{6316DD7F-A75F-471E-A514-4356AAFA7971}" dt="2026-04-03T20:13:09.601" v="325" actId="20577"/>
      <pc:docMkLst>
        <pc:docMk/>
      </pc:docMkLst>
      <pc:sldChg chg="modSp">
        <pc:chgData name="Brittany R McDonald" userId="182ILz0QlAHOO9E1VxhYKH73KCoVr+BVrFwTcel+7F4=" providerId="None" clId="Web-{6316DD7F-A75F-471E-A514-4356AAFA7971}" dt="2026-04-03T20:08:47.628" v="198" actId="20577"/>
        <pc:sldMkLst>
          <pc:docMk/>
          <pc:sldMk cId="1708329779" sldId="2147482870"/>
        </pc:sldMkLst>
        <pc:spChg chg="mod">
          <ac:chgData name="Brittany R McDonald" userId="182ILz0QlAHOO9E1VxhYKH73KCoVr+BVrFwTcel+7F4=" providerId="None" clId="Web-{6316DD7F-A75F-471E-A514-4356AAFA7971}" dt="2026-04-03T20:08:47.628" v="198" actId="20577"/>
          <ac:spMkLst>
            <pc:docMk/>
            <pc:sldMk cId="1708329779" sldId="2147482870"/>
            <ac:spMk id="3" creationId="{97A8DAA8-6CCF-45CC-427C-50A65F40B86D}"/>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757B748-010C-4BDB-8388-D2AF5231176F}" type="doc">
      <dgm:prSet loTypeId="urn:microsoft.com/office/officeart/2005/8/layout/process1" loCatId="process" qsTypeId="urn:microsoft.com/office/officeart/2005/8/quickstyle/simple1" qsCatId="simple" csTypeId="urn:microsoft.com/office/officeart/2005/8/colors/accent1_1" csCatId="accent1" phldr="1"/>
      <dgm:spPr/>
    </dgm:pt>
    <dgm:pt modelId="{20FFBB03-C3D6-4FD7-A9FF-ADAC8A9E4193}">
      <dgm:prSet phldrT="[Text]" custT="1"/>
      <dgm:spPr/>
      <dgm:t>
        <a:bodyPr/>
        <a:lstStyle/>
        <a:p>
          <a:pPr algn="l"/>
          <a:r>
            <a:rPr lang="en-US" sz="1600" dirty="0">
              <a:latin typeface="Gill Sans"/>
            </a:rPr>
            <a:t>Fixed-term academic employees do not automatically continue into the next academic or fiscal year</a:t>
          </a:r>
        </a:p>
      </dgm:t>
    </dgm:pt>
    <dgm:pt modelId="{BB9E1203-394A-4E4C-AD7B-6FD848863884}" type="parTrans" cxnId="{DBDF9E02-4ED6-4AC2-99EE-44196AB4BE14}">
      <dgm:prSet/>
      <dgm:spPr/>
      <dgm:t>
        <a:bodyPr/>
        <a:lstStyle/>
        <a:p>
          <a:pPr algn="l"/>
          <a:endParaRPr lang="en-US" sz="1600">
            <a:latin typeface="Gill Sans"/>
          </a:endParaRPr>
        </a:p>
      </dgm:t>
    </dgm:pt>
    <dgm:pt modelId="{7DA97168-1762-4862-BA3F-5ED4CC8706D6}" type="sibTrans" cxnId="{DBDF9E02-4ED6-4AC2-99EE-44196AB4BE14}">
      <dgm:prSet custT="1"/>
      <dgm:spPr/>
      <dgm:t>
        <a:bodyPr/>
        <a:lstStyle/>
        <a:p>
          <a:pPr algn="l"/>
          <a:endParaRPr lang="en-US" sz="1600" dirty="0">
            <a:latin typeface="Gill Sans"/>
          </a:endParaRPr>
        </a:p>
      </dgm:t>
    </dgm:pt>
    <dgm:pt modelId="{266EB080-9D72-4328-BB10-76AF049DD8CC}">
      <dgm:prSet phldrT="[Text]" custT="1"/>
      <dgm:spPr/>
      <dgm:t>
        <a:bodyPr/>
        <a:lstStyle/>
        <a:p>
          <a:pPr algn="l"/>
          <a:r>
            <a:rPr lang="en-US" sz="1600" dirty="0">
              <a:latin typeface="Gill Sans"/>
            </a:rPr>
            <a:t>“Non-renewal” describes the decision and process of ending an appointment for fixed-term academic faculty employees.</a:t>
          </a:r>
        </a:p>
      </dgm:t>
    </dgm:pt>
    <dgm:pt modelId="{B080BDDB-3989-4579-B203-1C8929AA496D}" type="parTrans" cxnId="{E12A4E0E-08A7-42E9-B6A8-2D2368E8E6DE}">
      <dgm:prSet/>
      <dgm:spPr/>
      <dgm:t>
        <a:bodyPr/>
        <a:lstStyle/>
        <a:p>
          <a:endParaRPr lang="en-US" sz="1600">
            <a:latin typeface="Gill Sans"/>
          </a:endParaRPr>
        </a:p>
      </dgm:t>
    </dgm:pt>
    <dgm:pt modelId="{96009969-44A2-495D-BF30-261E6214B62F}" type="sibTrans" cxnId="{E12A4E0E-08A7-42E9-B6A8-2D2368E8E6DE}">
      <dgm:prSet/>
      <dgm:spPr/>
      <dgm:t>
        <a:bodyPr/>
        <a:lstStyle/>
        <a:p>
          <a:endParaRPr lang="en-US" sz="1600">
            <a:latin typeface="Gill Sans"/>
          </a:endParaRPr>
        </a:p>
      </dgm:t>
    </dgm:pt>
    <dgm:pt modelId="{004DF960-C4C7-4D67-BE29-254BAD2494A3}">
      <dgm:prSet phldrT="[Text]" custT="1"/>
      <dgm:spPr/>
      <dgm:t>
        <a:bodyPr/>
        <a:lstStyle/>
        <a:p>
          <a:pPr algn="l"/>
          <a:r>
            <a:rPr lang="en-US" sz="1600" dirty="0">
              <a:latin typeface="Gill Sans"/>
            </a:rPr>
            <a:t>“Renewals” is the term used to describe the decisions and process of extending those appointments into successive year(s).</a:t>
          </a:r>
        </a:p>
      </dgm:t>
    </dgm:pt>
    <dgm:pt modelId="{4867C080-CA65-495F-BA16-B1C0ABA5D978}" type="parTrans" cxnId="{22866AF2-B4D3-4B2E-91E3-3CC540A42199}">
      <dgm:prSet/>
      <dgm:spPr/>
      <dgm:t>
        <a:bodyPr/>
        <a:lstStyle/>
        <a:p>
          <a:endParaRPr lang="en-US" sz="1600">
            <a:latin typeface="Gill Sans"/>
          </a:endParaRPr>
        </a:p>
      </dgm:t>
    </dgm:pt>
    <dgm:pt modelId="{8AE61CFB-AB1B-4C7E-9F88-911D060B58E5}" type="sibTrans" cxnId="{22866AF2-B4D3-4B2E-91E3-3CC540A42199}">
      <dgm:prSet custT="1"/>
      <dgm:spPr/>
      <dgm:t>
        <a:bodyPr/>
        <a:lstStyle/>
        <a:p>
          <a:endParaRPr lang="en-US" sz="1600" dirty="0">
            <a:latin typeface="Gill Sans"/>
          </a:endParaRPr>
        </a:p>
      </dgm:t>
    </dgm:pt>
    <dgm:pt modelId="{F6A9ED4A-C7E5-4C9E-AE65-BC89F0B61B27}" type="pres">
      <dgm:prSet presAssocID="{2757B748-010C-4BDB-8388-D2AF5231176F}" presName="Name0" presStyleCnt="0">
        <dgm:presLayoutVars>
          <dgm:dir/>
          <dgm:resizeHandles val="exact"/>
        </dgm:presLayoutVars>
      </dgm:prSet>
      <dgm:spPr/>
    </dgm:pt>
    <dgm:pt modelId="{3A8E98F8-91D4-4B63-B81E-6AD714771BEC}" type="pres">
      <dgm:prSet presAssocID="{20FFBB03-C3D6-4FD7-A9FF-ADAC8A9E4193}" presName="node" presStyleLbl="node1" presStyleIdx="0" presStyleCnt="3">
        <dgm:presLayoutVars>
          <dgm:bulletEnabled val="1"/>
        </dgm:presLayoutVars>
      </dgm:prSet>
      <dgm:spPr/>
    </dgm:pt>
    <dgm:pt modelId="{7B63F5EE-239F-428F-993E-38A9A4F38285}" type="pres">
      <dgm:prSet presAssocID="{7DA97168-1762-4862-BA3F-5ED4CC8706D6}" presName="sibTrans" presStyleLbl="sibTrans2D1" presStyleIdx="0" presStyleCnt="2"/>
      <dgm:spPr/>
    </dgm:pt>
    <dgm:pt modelId="{2472391D-AE3C-4FCC-BDA8-54EB042DE2AC}" type="pres">
      <dgm:prSet presAssocID="{7DA97168-1762-4862-BA3F-5ED4CC8706D6}" presName="connectorText" presStyleLbl="sibTrans2D1" presStyleIdx="0" presStyleCnt="2"/>
      <dgm:spPr/>
    </dgm:pt>
    <dgm:pt modelId="{F58FA3CB-C05C-4B72-A408-C63A65550679}" type="pres">
      <dgm:prSet presAssocID="{004DF960-C4C7-4D67-BE29-254BAD2494A3}" presName="node" presStyleLbl="node1" presStyleIdx="1" presStyleCnt="3">
        <dgm:presLayoutVars>
          <dgm:bulletEnabled val="1"/>
        </dgm:presLayoutVars>
      </dgm:prSet>
      <dgm:spPr/>
    </dgm:pt>
    <dgm:pt modelId="{72AE2DAD-F7C2-403C-817D-08B4C899FCA0}" type="pres">
      <dgm:prSet presAssocID="{8AE61CFB-AB1B-4C7E-9F88-911D060B58E5}" presName="sibTrans" presStyleLbl="sibTrans2D1" presStyleIdx="1" presStyleCnt="2"/>
      <dgm:spPr/>
    </dgm:pt>
    <dgm:pt modelId="{6E4469C6-B98B-4B04-8323-7C6CD898D13C}" type="pres">
      <dgm:prSet presAssocID="{8AE61CFB-AB1B-4C7E-9F88-911D060B58E5}" presName="connectorText" presStyleLbl="sibTrans2D1" presStyleIdx="1" presStyleCnt="2"/>
      <dgm:spPr/>
    </dgm:pt>
    <dgm:pt modelId="{62E36EF8-A495-4CF5-BF21-6EA3927FD8CB}" type="pres">
      <dgm:prSet presAssocID="{266EB080-9D72-4328-BB10-76AF049DD8CC}" presName="node" presStyleLbl="node1" presStyleIdx="2" presStyleCnt="3">
        <dgm:presLayoutVars>
          <dgm:bulletEnabled val="1"/>
        </dgm:presLayoutVars>
      </dgm:prSet>
      <dgm:spPr/>
    </dgm:pt>
  </dgm:ptLst>
  <dgm:cxnLst>
    <dgm:cxn modelId="{DBDF9E02-4ED6-4AC2-99EE-44196AB4BE14}" srcId="{2757B748-010C-4BDB-8388-D2AF5231176F}" destId="{20FFBB03-C3D6-4FD7-A9FF-ADAC8A9E4193}" srcOrd="0" destOrd="0" parTransId="{BB9E1203-394A-4E4C-AD7B-6FD848863884}" sibTransId="{7DA97168-1762-4862-BA3F-5ED4CC8706D6}"/>
    <dgm:cxn modelId="{E12A4E0E-08A7-42E9-B6A8-2D2368E8E6DE}" srcId="{2757B748-010C-4BDB-8388-D2AF5231176F}" destId="{266EB080-9D72-4328-BB10-76AF049DD8CC}" srcOrd="2" destOrd="0" parTransId="{B080BDDB-3989-4579-B203-1C8929AA496D}" sibTransId="{96009969-44A2-495D-BF30-261E6214B62F}"/>
    <dgm:cxn modelId="{B5DDDD1B-73E4-459D-83A1-84B18929228A}" type="presOf" srcId="{2757B748-010C-4BDB-8388-D2AF5231176F}" destId="{F6A9ED4A-C7E5-4C9E-AE65-BC89F0B61B27}" srcOrd="0" destOrd="0" presId="urn:microsoft.com/office/officeart/2005/8/layout/process1"/>
    <dgm:cxn modelId="{82AC8E35-CFFE-4A69-9928-F74D78A0B5E3}" type="presOf" srcId="{7DA97168-1762-4862-BA3F-5ED4CC8706D6}" destId="{2472391D-AE3C-4FCC-BDA8-54EB042DE2AC}" srcOrd="1" destOrd="0" presId="urn:microsoft.com/office/officeart/2005/8/layout/process1"/>
    <dgm:cxn modelId="{2C5A2A39-BDF5-42C5-B0B4-FB190A0062C7}" type="presOf" srcId="{8AE61CFB-AB1B-4C7E-9F88-911D060B58E5}" destId="{72AE2DAD-F7C2-403C-817D-08B4C899FCA0}" srcOrd="0" destOrd="0" presId="urn:microsoft.com/office/officeart/2005/8/layout/process1"/>
    <dgm:cxn modelId="{C74DBF39-4084-4BC1-9871-8C68DB53020F}" type="presOf" srcId="{8AE61CFB-AB1B-4C7E-9F88-911D060B58E5}" destId="{6E4469C6-B98B-4B04-8323-7C6CD898D13C}" srcOrd="1" destOrd="0" presId="urn:microsoft.com/office/officeart/2005/8/layout/process1"/>
    <dgm:cxn modelId="{49B367B6-B818-464C-BCA5-F7CEE328D0DE}" type="presOf" srcId="{7DA97168-1762-4862-BA3F-5ED4CC8706D6}" destId="{7B63F5EE-239F-428F-993E-38A9A4F38285}" srcOrd="0" destOrd="0" presId="urn:microsoft.com/office/officeart/2005/8/layout/process1"/>
    <dgm:cxn modelId="{E323B3C7-F55A-4CB5-8358-9FB726326BB6}" type="presOf" srcId="{004DF960-C4C7-4D67-BE29-254BAD2494A3}" destId="{F58FA3CB-C05C-4B72-A408-C63A65550679}" srcOrd="0" destOrd="0" presId="urn:microsoft.com/office/officeart/2005/8/layout/process1"/>
    <dgm:cxn modelId="{ED6FDACC-380E-4524-9F46-E656886EFC3C}" type="presOf" srcId="{20FFBB03-C3D6-4FD7-A9FF-ADAC8A9E4193}" destId="{3A8E98F8-91D4-4B63-B81E-6AD714771BEC}" srcOrd="0" destOrd="0" presId="urn:microsoft.com/office/officeart/2005/8/layout/process1"/>
    <dgm:cxn modelId="{6BC3D2ED-C9F3-4947-B258-CEC28B6FE067}" type="presOf" srcId="{266EB080-9D72-4328-BB10-76AF049DD8CC}" destId="{62E36EF8-A495-4CF5-BF21-6EA3927FD8CB}" srcOrd="0" destOrd="0" presId="urn:microsoft.com/office/officeart/2005/8/layout/process1"/>
    <dgm:cxn modelId="{22866AF2-B4D3-4B2E-91E3-3CC540A42199}" srcId="{2757B748-010C-4BDB-8388-D2AF5231176F}" destId="{004DF960-C4C7-4D67-BE29-254BAD2494A3}" srcOrd="1" destOrd="0" parTransId="{4867C080-CA65-495F-BA16-B1C0ABA5D978}" sibTransId="{8AE61CFB-AB1B-4C7E-9F88-911D060B58E5}"/>
    <dgm:cxn modelId="{AF0C5296-A1A5-45B6-8747-1CD52F52C811}" type="presParOf" srcId="{F6A9ED4A-C7E5-4C9E-AE65-BC89F0B61B27}" destId="{3A8E98F8-91D4-4B63-B81E-6AD714771BEC}" srcOrd="0" destOrd="0" presId="urn:microsoft.com/office/officeart/2005/8/layout/process1"/>
    <dgm:cxn modelId="{1C37A8BA-0530-41EE-9384-4A9009ADCE73}" type="presParOf" srcId="{F6A9ED4A-C7E5-4C9E-AE65-BC89F0B61B27}" destId="{7B63F5EE-239F-428F-993E-38A9A4F38285}" srcOrd="1" destOrd="0" presId="urn:microsoft.com/office/officeart/2005/8/layout/process1"/>
    <dgm:cxn modelId="{DD6112F6-6AE6-4290-A482-77A3E42C180F}" type="presParOf" srcId="{7B63F5EE-239F-428F-993E-38A9A4F38285}" destId="{2472391D-AE3C-4FCC-BDA8-54EB042DE2AC}" srcOrd="0" destOrd="0" presId="urn:microsoft.com/office/officeart/2005/8/layout/process1"/>
    <dgm:cxn modelId="{B2A099A6-31A6-4CDC-8707-3A87B3F496DB}" type="presParOf" srcId="{F6A9ED4A-C7E5-4C9E-AE65-BC89F0B61B27}" destId="{F58FA3CB-C05C-4B72-A408-C63A65550679}" srcOrd="2" destOrd="0" presId="urn:microsoft.com/office/officeart/2005/8/layout/process1"/>
    <dgm:cxn modelId="{19FDDE5F-3297-4F11-8EE9-1C121D061514}" type="presParOf" srcId="{F6A9ED4A-C7E5-4C9E-AE65-BC89F0B61B27}" destId="{72AE2DAD-F7C2-403C-817D-08B4C899FCA0}" srcOrd="3" destOrd="0" presId="urn:microsoft.com/office/officeart/2005/8/layout/process1"/>
    <dgm:cxn modelId="{75C916AE-03EC-4CA2-9FDB-C11EA3277DF9}" type="presParOf" srcId="{72AE2DAD-F7C2-403C-817D-08B4C899FCA0}" destId="{6E4469C6-B98B-4B04-8323-7C6CD898D13C}" srcOrd="0" destOrd="0" presId="urn:microsoft.com/office/officeart/2005/8/layout/process1"/>
    <dgm:cxn modelId="{0ED83BB8-DFE2-43AD-8B84-8108A20F730B}" type="presParOf" srcId="{F6A9ED4A-C7E5-4C9E-AE65-BC89F0B61B27}" destId="{62E36EF8-A495-4CF5-BF21-6EA3927FD8CB}"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4E6D967-5D9A-4699-9984-C06882FC6689}"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01847A5E-5F41-4561-BCCC-D2689EF473C4}">
      <dgm:prSet phldrT="[Text]" custT="1"/>
      <dgm:spPr/>
      <dgm:t>
        <a:bodyPr/>
        <a:lstStyle/>
        <a:p>
          <a:r>
            <a:rPr lang="en-US" sz="1600" dirty="0">
              <a:latin typeface="Gill Sans"/>
            </a:rPr>
            <a:t>April 14- April 28</a:t>
          </a:r>
        </a:p>
      </dgm:t>
    </dgm:pt>
    <dgm:pt modelId="{4F9FF00E-C443-46E5-B237-5CCD234CCE00}" type="parTrans" cxnId="{E99E1946-D86D-4E13-806A-866BD3CF284E}">
      <dgm:prSet/>
      <dgm:spPr/>
      <dgm:t>
        <a:bodyPr/>
        <a:lstStyle/>
        <a:p>
          <a:endParaRPr lang="en-US" sz="1600">
            <a:latin typeface="Gill Sans"/>
          </a:endParaRPr>
        </a:p>
      </dgm:t>
    </dgm:pt>
    <dgm:pt modelId="{C81F8DF8-5D54-4E69-A6C3-B66CF8A0A1FD}" type="sibTrans" cxnId="{E99E1946-D86D-4E13-806A-866BD3CF284E}">
      <dgm:prSet/>
      <dgm:spPr/>
      <dgm:t>
        <a:bodyPr/>
        <a:lstStyle/>
        <a:p>
          <a:endParaRPr lang="en-US" sz="1600">
            <a:latin typeface="Gill Sans"/>
          </a:endParaRPr>
        </a:p>
      </dgm:t>
    </dgm:pt>
    <dgm:pt modelId="{592EBFD2-DCCB-462B-BA2B-2F064D816201}">
      <dgm:prSet phldrT="[Text]" custT="1"/>
      <dgm:spPr/>
      <dgm:t>
        <a:bodyPr/>
        <a:lstStyle/>
        <a:p>
          <a:r>
            <a:rPr lang="en-US" sz="1600" dirty="0">
              <a:latin typeface="Gill Sans"/>
            </a:rPr>
            <a:t>Beginning May 8</a:t>
          </a:r>
        </a:p>
      </dgm:t>
    </dgm:pt>
    <dgm:pt modelId="{0C2B32AA-745C-4D01-8F70-8F36692CB835}" type="parTrans" cxnId="{6C0A088C-97BD-40D6-8CF7-45B83A5887E9}">
      <dgm:prSet/>
      <dgm:spPr/>
      <dgm:t>
        <a:bodyPr/>
        <a:lstStyle/>
        <a:p>
          <a:endParaRPr lang="en-US" sz="1600">
            <a:latin typeface="Gill Sans"/>
          </a:endParaRPr>
        </a:p>
      </dgm:t>
    </dgm:pt>
    <dgm:pt modelId="{034ED3F1-CBF7-44AA-B567-84AD7ECBAA36}" type="sibTrans" cxnId="{6C0A088C-97BD-40D6-8CF7-45B83A5887E9}">
      <dgm:prSet/>
      <dgm:spPr/>
      <dgm:t>
        <a:bodyPr/>
        <a:lstStyle/>
        <a:p>
          <a:endParaRPr lang="en-US" sz="1600">
            <a:latin typeface="Gill Sans"/>
          </a:endParaRPr>
        </a:p>
      </dgm:t>
    </dgm:pt>
    <dgm:pt modelId="{2ABCB023-DCDC-4226-8091-B32F1480D7FF}">
      <dgm:prSet phldrT="[Text]" custT="1"/>
      <dgm:spPr/>
      <dgm:t>
        <a:bodyPr/>
        <a:lstStyle/>
        <a:p>
          <a:r>
            <a:rPr lang="en-US" sz="1600" dirty="0">
              <a:latin typeface="Gill Sans"/>
            </a:rPr>
            <a:t>Sessions with designated HRSP</a:t>
          </a:r>
        </a:p>
      </dgm:t>
    </dgm:pt>
    <dgm:pt modelId="{1FED2B12-C660-4E24-BB76-B29E42C98B3C}" type="parTrans" cxnId="{16BAD70B-EF9F-4E0D-848A-929F7CD79E34}">
      <dgm:prSet/>
      <dgm:spPr/>
      <dgm:t>
        <a:bodyPr/>
        <a:lstStyle/>
        <a:p>
          <a:endParaRPr lang="en-US" sz="1600">
            <a:latin typeface="Gill Sans"/>
          </a:endParaRPr>
        </a:p>
      </dgm:t>
    </dgm:pt>
    <dgm:pt modelId="{6D408806-AAE0-485C-914F-96A3C763DFD5}" type="sibTrans" cxnId="{16BAD70B-EF9F-4E0D-848A-929F7CD79E34}">
      <dgm:prSet/>
      <dgm:spPr/>
      <dgm:t>
        <a:bodyPr/>
        <a:lstStyle/>
        <a:p>
          <a:endParaRPr lang="en-US" sz="1600">
            <a:latin typeface="Gill Sans"/>
          </a:endParaRPr>
        </a:p>
      </dgm:t>
    </dgm:pt>
    <dgm:pt modelId="{0BB6AB29-63C5-4C3C-B76E-411950D16F27}">
      <dgm:prSet phldrT="[Text]" custT="1"/>
      <dgm:spPr/>
      <dgm:t>
        <a:bodyPr/>
        <a:lstStyle/>
        <a:p>
          <a:r>
            <a:rPr lang="en-US" sz="1600" dirty="0">
              <a:latin typeface="Gill Sans"/>
            </a:rPr>
            <a:t>Fixed-term academic renewal letter distribution</a:t>
          </a:r>
        </a:p>
      </dgm:t>
    </dgm:pt>
    <dgm:pt modelId="{F77ED4FF-7BF4-4B0B-9EAE-0B73685F5B45}" type="parTrans" cxnId="{F5B4E7FC-02DC-4F4C-B063-D1D6238FB60F}">
      <dgm:prSet/>
      <dgm:spPr/>
      <dgm:t>
        <a:bodyPr/>
        <a:lstStyle/>
        <a:p>
          <a:endParaRPr lang="en-US" sz="1600">
            <a:latin typeface="Gill Sans"/>
          </a:endParaRPr>
        </a:p>
      </dgm:t>
    </dgm:pt>
    <dgm:pt modelId="{2400B4F3-0774-463A-8EA3-CD5250A03520}" type="sibTrans" cxnId="{F5B4E7FC-02DC-4F4C-B063-D1D6238FB60F}">
      <dgm:prSet/>
      <dgm:spPr/>
      <dgm:t>
        <a:bodyPr/>
        <a:lstStyle/>
        <a:p>
          <a:endParaRPr lang="en-US" sz="1600">
            <a:latin typeface="Gill Sans"/>
          </a:endParaRPr>
        </a:p>
      </dgm:t>
    </dgm:pt>
    <dgm:pt modelId="{835DF352-5D35-4DD9-98E8-8C9D59E32817}">
      <dgm:prSet phldrT="[Text]" custT="1"/>
      <dgm:spPr/>
      <dgm:t>
        <a:bodyPr/>
        <a:lstStyle/>
        <a:p>
          <a:r>
            <a:rPr lang="en-US" sz="1600" dirty="0">
              <a:latin typeface="Gill Sans"/>
            </a:rPr>
            <a:t>Last day to record renewal decisions using online tool</a:t>
          </a:r>
        </a:p>
      </dgm:t>
    </dgm:pt>
    <dgm:pt modelId="{4912E188-3404-4432-A3E8-880421205C0D}" type="parTrans" cxnId="{1B0CD715-D38F-43DD-828D-521A44937706}">
      <dgm:prSet/>
      <dgm:spPr/>
      <dgm:t>
        <a:bodyPr/>
        <a:lstStyle/>
        <a:p>
          <a:endParaRPr lang="en-US" sz="1600">
            <a:latin typeface="Gill Sans"/>
          </a:endParaRPr>
        </a:p>
      </dgm:t>
    </dgm:pt>
    <dgm:pt modelId="{19769CE7-C7DE-4E64-BE62-18DA5F7D8865}" type="sibTrans" cxnId="{1B0CD715-D38F-43DD-828D-521A44937706}">
      <dgm:prSet/>
      <dgm:spPr/>
      <dgm:t>
        <a:bodyPr/>
        <a:lstStyle/>
        <a:p>
          <a:endParaRPr lang="en-US" sz="1600">
            <a:latin typeface="Gill Sans"/>
          </a:endParaRPr>
        </a:p>
      </dgm:t>
    </dgm:pt>
    <dgm:pt modelId="{764BA0F8-209F-4584-A715-47B9F5489920}">
      <dgm:prSet phldrT="[Text]" custT="1"/>
      <dgm:spPr/>
      <dgm:t>
        <a:bodyPr/>
        <a:lstStyle/>
        <a:p>
          <a:r>
            <a:rPr lang="en-US" sz="1600" dirty="0">
              <a:latin typeface="Gill Sans"/>
            </a:rPr>
            <a:t>April 6</a:t>
          </a:r>
          <a:endParaRPr lang="en-US" sz="1600" dirty="0">
            <a:highlight>
              <a:srgbClr val="FF00FF"/>
            </a:highlight>
            <a:latin typeface="Gill Sans"/>
          </a:endParaRPr>
        </a:p>
      </dgm:t>
    </dgm:pt>
    <dgm:pt modelId="{26A45EA6-943E-4052-BE3D-A8DCA1E33A26}" type="parTrans" cxnId="{8076B99D-4B28-4CDA-93E2-85023C4E193A}">
      <dgm:prSet/>
      <dgm:spPr/>
      <dgm:t>
        <a:bodyPr/>
        <a:lstStyle/>
        <a:p>
          <a:endParaRPr lang="en-US" sz="1600">
            <a:latin typeface="Gill Sans"/>
          </a:endParaRPr>
        </a:p>
      </dgm:t>
    </dgm:pt>
    <dgm:pt modelId="{111A772B-F51B-471C-8B95-EF74FF09C489}" type="sibTrans" cxnId="{8076B99D-4B28-4CDA-93E2-85023C4E193A}">
      <dgm:prSet/>
      <dgm:spPr/>
      <dgm:t>
        <a:bodyPr/>
        <a:lstStyle/>
        <a:p>
          <a:endParaRPr lang="en-US" sz="1600">
            <a:latin typeface="Gill Sans"/>
          </a:endParaRPr>
        </a:p>
      </dgm:t>
    </dgm:pt>
    <dgm:pt modelId="{CD47CBB8-6634-4D32-8448-27C0BC8E77C2}">
      <dgm:prSet phldrT="[Text]" custT="1"/>
      <dgm:spPr/>
      <dgm:t>
        <a:bodyPr/>
        <a:lstStyle/>
        <a:p>
          <a:r>
            <a:rPr lang="en-US" sz="1600" dirty="0">
              <a:latin typeface="Gill Sans"/>
            </a:rPr>
            <a:t>Fixed-term renewal memo sent by UHR</a:t>
          </a:r>
        </a:p>
      </dgm:t>
    </dgm:pt>
    <dgm:pt modelId="{A72BF78B-0709-4A6C-8B79-4CE93CE799FA}" type="parTrans" cxnId="{9A450AB1-682C-4F10-875E-1B65FB0FB951}">
      <dgm:prSet/>
      <dgm:spPr/>
      <dgm:t>
        <a:bodyPr/>
        <a:lstStyle/>
        <a:p>
          <a:endParaRPr lang="en-US" sz="1600">
            <a:latin typeface="Gill Sans"/>
          </a:endParaRPr>
        </a:p>
      </dgm:t>
    </dgm:pt>
    <dgm:pt modelId="{27CAE5F2-7E15-48A6-A965-A6888D30DE13}" type="sibTrans" cxnId="{9A450AB1-682C-4F10-875E-1B65FB0FB951}">
      <dgm:prSet/>
      <dgm:spPr/>
      <dgm:t>
        <a:bodyPr/>
        <a:lstStyle/>
        <a:p>
          <a:endParaRPr lang="en-US" sz="1600">
            <a:latin typeface="Gill Sans"/>
          </a:endParaRPr>
        </a:p>
      </dgm:t>
    </dgm:pt>
    <dgm:pt modelId="{E0DA529B-0C08-4BCB-A752-392C5EBEC9D5}">
      <dgm:prSet phldrT="[Text]" custT="1"/>
      <dgm:spPr/>
      <dgm:t>
        <a:bodyPr/>
        <a:lstStyle/>
        <a:p>
          <a:r>
            <a:rPr lang="en-US" sz="1600" dirty="0">
              <a:latin typeface="Gill Sans"/>
            </a:rPr>
            <a:t>April 8</a:t>
          </a:r>
        </a:p>
      </dgm:t>
    </dgm:pt>
    <dgm:pt modelId="{792E8E79-698E-4E88-8765-46D751C57CA3}" type="parTrans" cxnId="{EC58B9F9-1AD6-4325-8129-78B45D2A7E8F}">
      <dgm:prSet/>
      <dgm:spPr/>
      <dgm:t>
        <a:bodyPr/>
        <a:lstStyle/>
        <a:p>
          <a:endParaRPr lang="en-US" sz="1600">
            <a:latin typeface="Gill Sans"/>
          </a:endParaRPr>
        </a:p>
      </dgm:t>
    </dgm:pt>
    <dgm:pt modelId="{C94696D0-2390-4061-B7F0-03BDDDB8F3E2}" type="sibTrans" cxnId="{EC58B9F9-1AD6-4325-8129-78B45D2A7E8F}">
      <dgm:prSet/>
      <dgm:spPr/>
      <dgm:t>
        <a:bodyPr/>
        <a:lstStyle/>
        <a:p>
          <a:endParaRPr lang="en-US" sz="1600">
            <a:latin typeface="Gill Sans"/>
          </a:endParaRPr>
        </a:p>
      </dgm:t>
    </dgm:pt>
    <dgm:pt modelId="{FC25BB62-A621-4D55-9D6C-7FD6FCEF4552}">
      <dgm:prSet phldrT="[Text]" custT="1"/>
      <dgm:spPr/>
      <dgm:t>
        <a:bodyPr/>
        <a:lstStyle/>
        <a:p>
          <a:r>
            <a:rPr lang="en-US" sz="1600" dirty="0">
              <a:latin typeface="Gill Sans"/>
            </a:rPr>
            <a:t>Fixed-term renewal online tool registration memo sent by Kadie Powell to all users</a:t>
          </a:r>
        </a:p>
      </dgm:t>
    </dgm:pt>
    <dgm:pt modelId="{23321BB7-88D2-4F9B-B288-90BD09EB1EED}" type="parTrans" cxnId="{81318A97-087D-4ADE-849A-B20EF019E3AB}">
      <dgm:prSet/>
      <dgm:spPr/>
      <dgm:t>
        <a:bodyPr/>
        <a:lstStyle/>
        <a:p>
          <a:endParaRPr lang="en-US" sz="1600">
            <a:latin typeface="Gill Sans"/>
          </a:endParaRPr>
        </a:p>
      </dgm:t>
    </dgm:pt>
    <dgm:pt modelId="{A84E017F-02F5-41B3-9BDC-EBD5D915AD24}" type="sibTrans" cxnId="{81318A97-087D-4ADE-849A-B20EF019E3AB}">
      <dgm:prSet/>
      <dgm:spPr/>
      <dgm:t>
        <a:bodyPr/>
        <a:lstStyle/>
        <a:p>
          <a:endParaRPr lang="en-US" sz="1600">
            <a:latin typeface="Gill Sans"/>
          </a:endParaRPr>
        </a:p>
      </dgm:t>
    </dgm:pt>
    <dgm:pt modelId="{62CD427C-E594-463A-913B-18641AC96F12}">
      <dgm:prSet phldrT="[Text]" custT="1"/>
      <dgm:spPr/>
      <dgm:t>
        <a:bodyPr/>
        <a:lstStyle/>
        <a:p>
          <a:r>
            <a:rPr lang="en-US" sz="1600" dirty="0">
              <a:latin typeface="Gill Sans"/>
            </a:rPr>
            <a:t>April 28</a:t>
          </a:r>
        </a:p>
      </dgm:t>
    </dgm:pt>
    <dgm:pt modelId="{33D69D6E-F5B1-4D9F-A546-4345A33AB813}" type="parTrans" cxnId="{65AFA5AD-CC9B-4D5E-ABEC-3BD993E8C6C1}">
      <dgm:prSet/>
      <dgm:spPr/>
      <dgm:t>
        <a:bodyPr/>
        <a:lstStyle/>
        <a:p>
          <a:endParaRPr lang="en-US" sz="1600">
            <a:latin typeface="Gill Sans"/>
          </a:endParaRPr>
        </a:p>
      </dgm:t>
    </dgm:pt>
    <dgm:pt modelId="{6DD23175-BC5B-45BA-B5C1-A1CA56FD6D81}" type="sibTrans" cxnId="{65AFA5AD-CC9B-4D5E-ABEC-3BD993E8C6C1}">
      <dgm:prSet/>
      <dgm:spPr/>
      <dgm:t>
        <a:bodyPr/>
        <a:lstStyle/>
        <a:p>
          <a:endParaRPr lang="en-US" sz="1600">
            <a:latin typeface="Gill Sans"/>
          </a:endParaRPr>
        </a:p>
      </dgm:t>
    </dgm:pt>
    <dgm:pt modelId="{0E3413E1-EF18-4F83-9625-8869C1B29552}">
      <dgm:prSet phldrT="[Text]" custT="1"/>
      <dgm:spPr/>
      <dgm:t>
        <a:bodyPr/>
        <a:lstStyle/>
        <a:p>
          <a:r>
            <a:rPr lang="en-US" sz="1600" dirty="0">
              <a:latin typeface="Gill Sans"/>
            </a:rPr>
            <a:t>April 13</a:t>
          </a:r>
        </a:p>
      </dgm:t>
    </dgm:pt>
    <dgm:pt modelId="{90E2662F-90A7-45A1-B7FC-B04D088BE035}" type="parTrans" cxnId="{EE4FAB99-4BA2-4E9C-A979-28D5597628EC}">
      <dgm:prSet/>
      <dgm:spPr/>
      <dgm:t>
        <a:bodyPr/>
        <a:lstStyle/>
        <a:p>
          <a:endParaRPr lang="en-US" sz="1600">
            <a:latin typeface="Gill Sans"/>
          </a:endParaRPr>
        </a:p>
      </dgm:t>
    </dgm:pt>
    <dgm:pt modelId="{640B4AEE-D064-4B0E-ABB3-842164C107C1}" type="sibTrans" cxnId="{EE4FAB99-4BA2-4E9C-A979-28D5597628EC}">
      <dgm:prSet/>
      <dgm:spPr/>
      <dgm:t>
        <a:bodyPr/>
        <a:lstStyle/>
        <a:p>
          <a:endParaRPr lang="en-US" sz="1600">
            <a:latin typeface="Gill Sans"/>
          </a:endParaRPr>
        </a:p>
      </dgm:t>
    </dgm:pt>
    <dgm:pt modelId="{00A6B93D-2D63-4678-9B7E-4FD79812769F}">
      <dgm:prSet phldrT="[Text]" custT="1"/>
      <dgm:spPr/>
      <dgm:t>
        <a:bodyPr/>
        <a:lstStyle/>
        <a:p>
          <a:r>
            <a:rPr lang="en-US" sz="1600" dirty="0">
              <a:latin typeface="Gill Sans"/>
            </a:rPr>
            <a:t>Fixed-term academic renewal tool link issued by HR Strategic Partners, with instructions</a:t>
          </a:r>
        </a:p>
      </dgm:t>
    </dgm:pt>
    <dgm:pt modelId="{9A7427D5-4B9A-4B3C-AC42-B389C7DF720F}" type="parTrans" cxnId="{20CBF267-4220-4DBC-A986-9EFAC9137683}">
      <dgm:prSet/>
      <dgm:spPr/>
      <dgm:t>
        <a:bodyPr/>
        <a:lstStyle/>
        <a:p>
          <a:endParaRPr lang="en-US" sz="1600">
            <a:latin typeface="Gill Sans"/>
          </a:endParaRPr>
        </a:p>
      </dgm:t>
    </dgm:pt>
    <dgm:pt modelId="{54736CC9-A0D0-44C4-B008-9EA4DCC9B5A5}" type="sibTrans" cxnId="{20CBF267-4220-4DBC-A986-9EFAC9137683}">
      <dgm:prSet/>
      <dgm:spPr/>
      <dgm:t>
        <a:bodyPr/>
        <a:lstStyle/>
        <a:p>
          <a:endParaRPr lang="en-US" sz="1600">
            <a:latin typeface="Gill Sans"/>
          </a:endParaRPr>
        </a:p>
      </dgm:t>
    </dgm:pt>
    <dgm:pt modelId="{083ADEFD-BCC8-469C-8E48-9A0077548F55}" type="pres">
      <dgm:prSet presAssocID="{74E6D967-5D9A-4699-9984-C06882FC6689}" presName="Name0" presStyleCnt="0">
        <dgm:presLayoutVars>
          <dgm:dir/>
          <dgm:animLvl val="lvl"/>
          <dgm:resizeHandles val="exact"/>
        </dgm:presLayoutVars>
      </dgm:prSet>
      <dgm:spPr/>
    </dgm:pt>
    <dgm:pt modelId="{32CB3653-BAE0-45E1-AFE4-78B677A66C68}" type="pres">
      <dgm:prSet presAssocID="{764BA0F8-209F-4584-A715-47B9F5489920}" presName="composite" presStyleCnt="0"/>
      <dgm:spPr/>
    </dgm:pt>
    <dgm:pt modelId="{0DAB08CD-5959-4C96-B790-CA5281971885}" type="pres">
      <dgm:prSet presAssocID="{764BA0F8-209F-4584-A715-47B9F5489920}" presName="parTx" presStyleLbl="node1" presStyleIdx="0" presStyleCnt="6">
        <dgm:presLayoutVars>
          <dgm:chMax val="0"/>
          <dgm:chPref val="0"/>
          <dgm:bulletEnabled val="1"/>
        </dgm:presLayoutVars>
      </dgm:prSet>
      <dgm:spPr/>
    </dgm:pt>
    <dgm:pt modelId="{7D313227-BC9D-469E-A987-5B1BB876F4E5}" type="pres">
      <dgm:prSet presAssocID="{764BA0F8-209F-4584-A715-47B9F5489920}" presName="desTx" presStyleLbl="revTx" presStyleIdx="0" presStyleCnt="6">
        <dgm:presLayoutVars>
          <dgm:bulletEnabled val="1"/>
        </dgm:presLayoutVars>
      </dgm:prSet>
      <dgm:spPr/>
    </dgm:pt>
    <dgm:pt modelId="{78DF3566-877E-458F-8920-C1A3FFFB36B5}" type="pres">
      <dgm:prSet presAssocID="{111A772B-F51B-471C-8B95-EF74FF09C489}" presName="space" presStyleCnt="0"/>
      <dgm:spPr/>
    </dgm:pt>
    <dgm:pt modelId="{F714B0A2-6401-42DE-818B-BDE970E10D25}" type="pres">
      <dgm:prSet presAssocID="{E0DA529B-0C08-4BCB-A752-392C5EBEC9D5}" presName="composite" presStyleCnt="0"/>
      <dgm:spPr/>
    </dgm:pt>
    <dgm:pt modelId="{3F59E3E8-1636-4496-A1E4-C5BDD443E705}" type="pres">
      <dgm:prSet presAssocID="{E0DA529B-0C08-4BCB-A752-392C5EBEC9D5}" presName="parTx" presStyleLbl="node1" presStyleIdx="1" presStyleCnt="6">
        <dgm:presLayoutVars>
          <dgm:chMax val="0"/>
          <dgm:chPref val="0"/>
          <dgm:bulletEnabled val="1"/>
        </dgm:presLayoutVars>
      </dgm:prSet>
      <dgm:spPr/>
    </dgm:pt>
    <dgm:pt modelId="{51863536-E62F-4464-934B-978E6A783231}" type="pres">
      <dgm:prSet presAssocID="{E0DA529B-0C08-4BCB-A752-392C5EBEC9D5}" presName="desTx" presStyleLbl="revTx" presStyleIdx="1" presStyleCnt="6">
        <dgm:presLayoutVars>
          <dgm:bulletEnabled val="1"/>
        </dgm:presLayoutVars>
      </dgm:prSet>
      <dgm:spPr/>
    </dgm:pt>
    <dgm:pt modelId="{F15DE3CF-A9AE-4D9B-AC4F-C86AC58B0B02}" type="pres">
      <dgm:prSet presAssocID="{C94696D0-2390-4061-B7F0-03BDDDB8F3E2}" presName="space" presStyleCnt="0"/>
      <dgm:spPr/>
    </dgm:pt>
    <dgm:pt modelId="{AE4F2099-1254-47F6-B8F2-8C9A5485DF53}" type="pres">
      <dgm:prSet presAssocID="{0E3413E1-EF18-4F83-9625-8869C1B29552}" presName="composite" presStyleCnt="0"/>
      <dgm:spPr/>
    </dgm:pt>
    <dgm:pt modelId="{0622075B-209B-48C5-9680-99B28ADA3EC7}" type="pres">
      <dgm:prSet presAssocID="{0E3413E1-EF18-4F83-9625-8869C1B29552}" presName="parTx" presStyleLbl="node1" presStyleIdx="2" presStyleCnt="6">
        <dgm:presLayoutVars>
          <dgm:chMax val="0"/>
          <dgm:chPref val="0"/>
          <dgm:bulletEnabled val="1"/>
        </dgm:presLayoutVars>
      </dgm:prSet>
      <dgm:spPr/>
    </dgm:pt>
    <dgm:pt modelId="{CD8F3B2A-4A96-49CA-87CC-8D805B1EAD09}" type="pres">
      <dgm:prSet presAssocID="{0E3413E1-EF18-4F83-9625-8869C1B29552}" presName="desTx" presStyleLbl="revTx" presStyleIdx="2" presStyleCnt="6">
        <dgm:presLayoutVars>
          <dgm:bulletEnabled val="1"/>
        </dgm:presLayoutVars>
      </dgm:prSet>
      <dgm:spPr/>
    </dgm:pt>
    <dgm:pt modelId="{DFD8B987-7194-4C7C-B0DD-DF232A3FA2F2}" type="pres">
      <dgm:prSet presAssocID="{640B4AEE-D064-4B0E-ABB3-842164C107C1}" presName="space" presStyleCnt="0"/>
      <dgm:spPr/>
    </dgm:pt>
    <dgm:pt modelId="{458F57BA-85F0-4F60-9A29-0B381D9FC72F}" type="pres">
      <dgm:prSet presAssocID="{01847A5E-5F41-4561-BCCC-D2689EF473C4}" presName="composite" presStyleCnt="0"/>
      <dgm:spPr/>
    </dgm:pt>
    <dgm:pt modelId="{A2913B5F-CA55-42C1-9DE9-740B60862AD0}" type="pres">
      <dgm:prSet presAssocID="{01847A5E-5F41-4561-BCCC-D2689EF473C4}" presName="parTx" presStyleLbl="node1" presStyleIdx="3" presStyleCnt="6">
        <dgm:presLayoutVars>
          <dgm:chMax val="0"/>
          <dgm:chPref val="0"/>
          <dgm:bulletEnabled val="1"/>
        </dgm:presLayoutVars>
      </dgm:prSet>
      <dgm:spPr/>
    </dgm:pt>
    <dgm:pt modelId="{6369563A-C728-4801-ABCA-839CB16BF0A4}" type="pres">
      <dgm:prSet presAssocID="{01847A5E-5F41-4561-BCCC-D2689EF473C4}" presName="desTx" presStyleLbl="revTx" presStyleIdx="3" presStyleCnt="6">
        <dgm:presLayoutVars>
          <dgm:bulletEnabled val="1"/>
        </dgm:presLayoutVars>
      </dgm:prSet>
      <dgm:spPr/>
    </dgm:pt>
    <dgm:pt modelId="{95E8FED9-28CC-4949-8845-3D345F6A7F17}" type="pres">
      <dgm:prSet presAssocID="{C81F8DF8-5D54-4E69-A6C3-B66CF8A0A1FD}" presName="space" presStyleCnt="0"/>
      <dgm:spPr/>
    </dgm:pt>
    <dgm:pt modelId="{B012C5E2-9F92-4459-AD70-0EBF76BEF608}" type="pres">
      <dgm:prSet presAssocID="{62CD427C-E594-463A-913B-18641AC96F12}" presName="composite" presStyleCnt="0"/>
      <dgm:spPr/>
    </dgm:pt>
    <dgm:pt modelId="{5C303E87-465E-4D13-8ED5-B90EDC0F02E4}" type="pres">
      <dgm:prSet presAssocID="{62CD427C-E594-463A-913B-18641AC96F12}" presName="parTx" presStyleLbl="node1" presStyleIdx="4" presStyleCnt="6">
        <dgm:presLayoutVars>
          <dgm:chMax val="0"/>
          <dgm:chPref val="0"/>
          <dgm:bulletEnabled val="1"/>
        </dgm:presLayoutVars>
      </dgm:prSet>
      <dgm:spPr/>
    </dgm:pt>
    <dgm:pt modelId="{5BF31796-E3FC-4806-815C-92456D7B3733}" type="pres">
      <dgm:prSet presAssocID="{62CD427C-E594-463A-913B-18641AC96F12}" presName="desTx" presStyleLbl="revTx" presStyleIdx="4" presStyleCnt="6">
        <dgm:presLayoutVars>
          <dgm:bulletEnabled val="1"/>
        </dgm:presLayoutVars>
      </dgm:prSet>
      <dgm:spPr/>
    </dgm:pt>
    <dgm:pt modelId="{DEB2E53D-52E2-492D-A6E0-EBAFF91622CC}" type="pres">
      <dgm:prSet presAssocID="{6DD23175-BC5B-45BA-B5C1-A1CA56FD6D81}" presName="space" presStyleCnt="0"/>
      <dgm:spPr/>
    </dgm:pt>
    <dgm:pt modelId="{09A9519A-8A9C-42A8-87C7-8744D394FD83}" type="pres">
      <dgm:prSet presAssocID="{592EBFD2-DCCB-462B-BA2B-2F064D816201}" presName="composite" presStyleCnt="0"/>
      <dgm:spPr/>
    </dgm:pt>
    <dgm:pt modelId="{1B1F7217-FCC2-408F-A954-34B30CEF989D}" type="pres">
      <dgm:prSet presAssocID="{592EBFD2-DCCB-462B-BA2B-2F064D816201}" presName="parTx" presStyleLbl="node1" presStyleIdx="5" presStyleCnt="6">
        <dgm:presLayoutVars>
          <dgm:chMax val="0"/>
          <dgm:chPref val="0"/>
          <dgm:bulletEnabled val="1"/>
        </dgm:presLayoutVars>
      </dgm:prSet>
      <dgm:spPr/>
    </dgm:pt>
    <dgm:pt modelId="{36D6393E-9476-4AC9-A78F-C2FE45501131}" type="pres">
      <dgm:prSet presAssocID="{592EBFD2-DCCB-462B-BA2B-2F064D816201}" presName="desTx" presStyleLbl="revTx" presStyleIdx="5" presStyleCnt="6">
        <dgm:presLayoutVars>
          <dgm:bulletEnabled val="1"/>
        </dgm:presLayoutVars>
      </dgm:prSet>
      <dgm:spPr/>
    </dgm:pt>
  </dgm:ptLst>
  <dgm:cxnLst>
    <dgm:cxn modelId="{16BAD70B-EF9F-4E0D-848A-929F7CD79E34}" srcId="{01847A5E-5F41-4561-BCCC-D2689EF473C4}" destId="{2ABCB023-DCDC-4226-8091-B32F1480D7FF}" srcOrd="0" destOrd="0" parTransId="{1FED2B12-C660-4E24-BB76-B29E42C98B3C}" sibTransId="{6D408806-AAE0-485C-914F-96A3C763DFD5}"/>
    <dgm:cxn modelId="{1B0CD715-D38F-43DD-828D-521A44937706}" srcId="{62CD427C-E594-463A-913B-18641AC96F12}" destId="{835DF352-5D35-4DD9-98E8-8C9D59E32817}" srcOrd="0" destOrd="0" parTransId="{4912E188-3404-4432-A3E8-880421205C0D}" sibTransId="{19769CE7-C7DE-4E64-BE62-18DA5F7D8865}"/>
    <dgm:cxn modelId="{9723F01C-C21A-4BAC-B979-A87F06B9627F}" type="presOf" srcId="{FC25BB62-A621-4D55-9D6C-7FD6FCEF4552}" destId="{51863536-E62F-4464-934B-978E6A783231}" srcOrd="0" destOrd="0" presId="urn:microsoft.com/office/officeart/2005/8/layout/chevron1"/>
    <dgm:cxn modelId="{4044901F-7F25-4420-B66E-30014EEC13EE}" type="presOf" srcId="{2ABCB023-DCDC-4226-8091-B32F1480D7FF}" destId="{6369563A-C728-4801-ABCA-839CB16BF0A4}" srcOrd="0" destOrd="0" presId="urn:microsoft.com/office/officeart/2005/8/layout/chevron1"/>
    <dgm:cxn modelId="{F455732D-C894-4716-8F8B-AA468A448869}" type="presOf" srcId="{0E3413E1-EF18-4F83-9625-8869C1B29552}" destId="{0622075B-209B-48C5-9680-99B28ADA3EC7}" srcOrd="0" destOrd="0" presId="urn:microsoft.com/office/officeart/2005/8/layout/chevron1"/>
    <dgm:cxn modelId="{E99E1946-D86D-4E13-806A-866BD3CF284E}" srcId="{74E6D967-5D9A-4699-9984-C06882FC6689}" destId="{01847A5E-5F41-4561-BCCC-D2689EF473C4}" srcOrd="3" destOrd="0" parTransId="{4F9FF00E-C443-46E5-B237-5CCD234CCE00}" sibTransId="{C81F8DF8-5D54-4E69-A6C3-B66CF8A0A1FD}"/>
    <dgm:cxn modelId="{BEA52246-DD90-4BB2-BCC9-BA2C5B88EC47}" type="presOf" srcId="{00A6B93D-2D63-4678-9B7E-4FD79812769F}" destId="{CD8F3B2A-4A96-49CA-87CC-8D805B1EAD09}" srcOrd="0" destOrd="0" presId="urn:microsoft.com/office/officeart/2005/8/layout/chevron1"/>
    <dgm:cxn modelId="{20CBF267-4220-4DBC-A986-9EFAC9137683}" srcId="{0E3413E1-EF18-4F83-9625-8869C1B29552}" destId="{00A6B93D-2D63-4678-9B7E-4FD79812769F}" srcOrd="0" destOrd="0" parTransId="{9A7427D5-4B9A-4B3C-AC42-B389C7DF720F}" sibTransId="{54736CC9-A0D0-44C4-B008-9EA4DCC9B5A5}"/>
    <dgm:cxn modelId="{EE66FE48-A932-44AA-8EB1-72CB341914E3}" type="presOf" srcId="{74E6D967-5D9A-4699-9984-C06882FC6689}" destId="{083ADEFD-BCC8-469C-8E48-9A0077548F55}" srcOrd="0" destOrd="0" presId="urn:microsoft.com/office/officeart/2005/8/layout/chevron1"/>
    <dgm:cxn modelId="{22168787-0323-4865-B3AE-23CE6F522A6D}" type="presOf" srcId="{0BB6AB29-63C5-4C3C-B76E-411950D16F27}" destId="{36D6393E-9476-4AC9-A78F-C2FE45501131}" srcOrd="0" destOrd="0" presId="urn:microsoft.com/office/officeart/2005/8/layout/chevron1"/>
    <dgm:cxn modelId="{6C0A088C-97BD-40D6-8CF7-45B83A5887E9}" srcId="{74E6D967-5D9A-4699-9984-C06882FC6689}" destId="{592EBFD2-DCCB-462B-BA2B-2F064D816201}" srcOrd="5" destOrd="0" parTransId="{0C2B32AA-745C-4D01-8F70-8F36692CB835}" sibTransId="{034ED3F1-CBF7-44AA-B567-84AD7ECBAA36}"/>
    <dgm:cxn modelId="{81318A97-087D-4ADE-849A-B20EF019E3AB}" srcId="{E0DA529B-0C08-4BCB-A752-392C5EBEC9D5}" destId="{FC25BB62-A621-4D55-9D6C-7FD6FCEF4552}" srcOrd="0" destOrd="0" parTransId="{23321BB7-88D2-4F9B-B288-90BD09EB1EED}" sibTransId="{A84E017F-02F5-41B3-9BDC-EBD5D915AD24}"/>
    <dgm:cxn modelId="{EE4FAB99-4BA2-4E9C-A979-28D5597628EC}" srcId="{74E6D967-5D9A-4699-9984-C06882FC6689}" destId="{0E3413E1-EF18-4F83-9625-8869C1B29552}" srcOrd="2" destOrd="0" parTransId="{90E2662F-90A7-45A1-B7FC-B04D088BE035}" sibTransId="{640B4AEE-D064-4B0E-ABB3-842164C107C1}"/>
    <dgm:cxn modelId="{3D2D649B-7722-4E31-A05C-6BFF095798C9}" type="presOf" srcId="{62CD427C-E594-463A-913B-18641AC96F12}" destId="{5C303E87-465E-4D13-8ED5-B90EDC0F02E4}" srcOrd="0" destOrd="0" presId="urn:microsoft.com/office/officeart/2005/8/layout/chevron1"/>
    <dgm:cxn modelId="{8076B99D-4B28-4CDA-93E2-85023C4E193A}" srcId="{74E6D967-5D9A-4699-9984-C06882FC6689}" destId="{764BA0F8-209F-4584-A715-47B9F5489920}" srcOrd="0" destOrd="0" parTransId="{26A45EA6-943E-4052-BE3D-A8DCA1E33A26}" sibTransId="{111A772B-F51B-471C-8B95-EF74FF09C489}"/>
    <dgm:cxn modelId="{EC3635A2-84B3-4263-A671-E9170CFFEC89}" type="presOf" srcId="{592EBFD2-DCCB-462B-BA2B-2F064D816201}" destId="{1B1F7217-FCC2-408F-A954-34B30CEF989D}" srcOrd="0" destOrd="0" presId="urn:microsoft.com/office/officeart/2005/8/layout/chevron1"/>
    <dgm:cxn modelId="{44A623AD-8889-408E-84F5-F2B465EE4E9D}" type="presOf" srcId="{01847A5E-5F41-4561-BCCC-D2689EF473C4}" destId="{A2913B5F-CA55-42C1-9DE9-740B60862AD0}" srcOrd="0" destOrd="0" presId="urn:microsoft.com/office/officeart/2005/8/layout/chevron1"/>
    <dgm:cxn modelId="{65AFA5AD-CC9B-4D5E-ABEC-3BD993E8C6C1}" srcId="{74E6D967-5D9A-4699-9984-C06882FC6689}" destId="{62CD427C-E594-463A-913B-18641AC96F12}" srcOrd="4" destOrd="0" parTransId="{33D69D6E-F5B1-4D9F-A546-4345A33AB813}" sibTransId="{6DD23175-BC5B-45BA-B5C1-A1CA56FD6D81}"/>
    <dgm:cxn modelId="{9A450AB1-682C-4F10-875E-1B65FB0FB951}" srcId="{764BA0F8-209F-4584-A715-47B9F5489920}" destId="{CD47CBB8-6634-4D32-8448-27C0BC8E77C2}" srcOrd="0" destOrd="0" parTransId="{A72BF78B-0709-4A6C-8B79-4CE93CE799FA}" sibTransId="{27CAE5F2-7E15-48A6-A965-A6888D30DE13}"/>
    <dgm:cxn modelId="{1A33B7D8-ACC5-44F1-B098-AB53C5D7A419}" type="presOf" srcId="{764BA0F8-209F-4584-A715-47B9F5489920}" destId="{0DAB08CD-5959-4C96-B790-CA5281971885}" srcOrd="0" destOrd="0" presId="urn:microsoft.com/office/officeart/2005/8/layout/chevron1"/>
    <dgm:cxn modelId="{1A0228DA-4AF4-4E75-B225-5C73F5C588AC}" type="presOf" srcId="{CD47CBB8-6634-4D32-8448-27C0BC8E77C2}" destId="{7D313227-BC9D-469E-A987-5B1BB876F4E5}" srcOrd="0" destOrd="0" presId="urn:microsoft.com/office/officeart/2005/8/layout/chevron1"/>
    <dgm:cxn modelId="{4F9552F6-AE08-4427-A40C-B895E7A5274E}" type="presOf" srcId="{835DF352-5D35-4DD9-98E8-8C9D59E32817}" destId="{5BF31796-E3FC-4806-815C-92456D7B3733}" srcOrd="0" destOrd="0" presId="urn:microsoft.com/office/officeart/2005/8/layout/chevron1"/>
    <dgm:cxn modelId="{321145F9-ECC7-45DD-AFDA-ED57EFE9F964}" type="presOf" srcId="{E0DA529B-0C08-4BCB-A752-392C5EBEC9D5}" destId="{3F59E3E8-1636-4496-A1E4-C5BDD443E705}" srcOrd="0" destOrd="0" presId="urn:microsoft.com/office/officeart/2005/8/layout/chevron1"/>
    <dgm:cxn modelId="{EC58B9F9-1AD6-4325-8129-78B45D2A7E8F}" srcId="{74E6D967-5D9A-4699-9984-C06882FC6689}" destId="{E0DA529B-0C08-4BCB-A752-392C5EBEC9D5}" srcOrd="1" destOrd="0" parTransId="{792E8E79-698E-4E88-8765-46D751C57CA3}" sibTransId="{C94696D0-2390-4061-B7F0-03BDDDB8F3E2}"/>
    <dgm:cxn modelId="{F5B4E7FC-02DC-4F4C-B063-D1D6238FB60F}" srcId="{592EBFD2-DCCB-462B-BA2B-2F064D816201}" destId="{0BB6AB29-63C5-4C3C-B76E-411950D16F27}" srcOrd="0" destOrd="0" parTransId="{F77ED4FF-7BF4-4B0B-9EAE-0B73685F5B45}" sibTransId="{2400B4F3-0774-463A-8EA3-CD5250A03520}"/>
    <dgm:cxn modelId="{93B78DA6-A11B-489C-AE08-DF12F011B065}" type="presParOf" srcId="{083ADEFD-BCC8-469C-8E48-9A0077548F55}" destId="{32CB3653-BAE0-45E1-AFE4-78B677A66C68}" srcOrd="0" destOrd="0" presId="urn:microsoft.com/office/officeart/2005/8/layout/chevron1"/>
    <dgm:cxn modelId="{B9F9CA0F-094B-4764-BF39-29875E3F8BE9}" type="presParOf" srcId="{32CB3653-BAE0-45E1-AFE4-78B677A66C68}" destId="{0DAB08CD-5959-4C96-B790-CA5281971885}" srcOrd="0" destOrd="0" presId="urn:microsoft.com/office/officeart/2005/8/layout/chevron1"/>
    <dgm:cxn modelId="{B52D0A2C-5575-41E0-A114-D2A25A8B8A29}" type="presParOf" srcId="{32CB3653-BAE0-45E1-AFE4-78B677A66C68}" destId="{7D313227-BC9D-469E-A987-5B1BB876F4E5}" srcOrd="1" destOrd="0" presId="urn:microsoft.com/office/officeart/2005/8/layout/chevron1"/>
    <dgm:cxn modelId="{1D67FB34-C526-4423-B45D-BBC7BE34B26A}" type="presParOf" srcId="{083ADEFD-BCC8-469C-8E48-9A0077548F55}" destId="{78DF3566-877E-458F-8920-C1A3FFFB36B5}" srcOrd="1" destOrd="0" presId="urn:microsoft.com/office/officeart/2005/8/layout/chevron1"/>
    <dgm:cxn modelId="{B87EA6E0-C631-417D-9016-2232B1B4BB14}" type="presParOf" srcId="{083ADEFD-BCC8-469C-8E48-9A0077548F55}" destId="{F714B0A2-6401-42DE-818B-BDE970E10D25}" srcOrd="2" destOrd="0" presId="urn:microsoft.com/office/officeart/2005/8/layout/chevron1"/>
    <dgm:cxn modelId="{077B62E1-AF5A-4C92-B2EC-CE11D313C7DD}" type="presParOf" srcId="{F714B0A2-6401-42DE-818B-BDE970E10D25}" destId="{3F59E3E8-1636-4496-A1E4-C5BDD443E705}" srcOrd="0" destOrd="0" presId="urn:microsoft.com/office/officeart/2005/8/layout/chevron1"/>
    <dgm:cxn modelId="{119D7568-FC35-4D43-8902-3DCD663DF9DE}" type="presParOf" srcId="{F714B0A2-6401-42DE-818B-BDE970E10D25}" destId="{51863536-E62F-4464-934B-978E6A783231}" srcOrd="1" destOrd="0" presId="urn:microsoft.com/office/officeart/2005/8/layout/chevron1"/>
    <dgm:cxn modelId="{DB7C0561-8578-4D83-AE5B-68A67CD0CC91}" type="presParOf" srcId="{083ADEFD-BCC8-469C-8E48-9A0077548F55}" destId="{F15DE3CF-A9AE-4D9B-AC4F-C86AC58B0B02}" srcOrd="3" destOrd="0" presId="urn:microsoft.com/office/officeart/2005/8/layout/chevron1"/>
    <dgm:cxn modelId="{BE86168D-AA04-4995-A1BE-99D4238BB854}" type="presParOf" srcId="{083ADEFD-BCC8-469C-8E48-9A0077548F55}" destId="{AE4F2099-1254-47F6-B8F2-8C9A5485DF53}" srcOrd="4" destOrd="0" presId="urn:microsoft.com/office/officeart/2005/8/layout/chevron1"/>
    <dgm:cxn modelId="{D321147F-D1D6-4141-B6DC-D5D2E3E7B3CD}" type="presParOf" srcId="{AE4F2099-1254-47F6-B8F2-8C9A5485DF53}" destId="{0622075B-209B-48C5-9680-99B28ADA3EC7}" srcOrd="0" destOrd="0" presId="urn:microsoft.com/office/officeart/2005/8/layout/chevron1"/>
    <dgm:cxn modelId="{90EE10B3-967F-47B3-A0B1-A399C4B16E8A}" type="presParOf" srcId="{AE4F2099-1254-47F6-B8F2-8C9A5485DF53}" destId="{CD8F3B2A-4A96-49CA-87CC-8D805B1EAD09}" srcOrd="1" destOrd="0" presId="urn:microsoft.com/office/officeart/2005/8/layout/chevron1"/>
    <dgm:cxn modelId="{1FB75F73-C805-4F5E-904B-17CBD415DCF9}" type="presParOf" srcId="{083ADEFD-BCC8-469C-8E48-9A0077548F55}" destId="{DFD8B987-7194-4C7C-B0DD-DF232A3FA2F2}" srcOrd="5" destOrd="0" presId="urn:microsoft.com/office/officeart/2005/8/layout/chevron1"/>
    <dgm:cxn modelId="{441AD480-2952-4719-B207-A2D8A3C84DE8}" type="presParOf" srcId="{083ADEFD-BCC8-469C-8E48-9A0077548F55}" destId="{458F57BA-85F0-4F60-9A29-0B381D9FC72F}" srcOrd="6" destOrd="0" presId="urn:microsoft.com/office/officeart/2005/8/layout/chevron1"/>
    <dgm:cxn modelId="{6026BEE5-3E19-4C11-89FF-B836CBFB9CB2}" type="presParOf" srcId="{458F57BA-85F0-4F60-9A29-0B381D9FC72F}" destId="{A2913B5F-CA55-42C1-9DE9-740B60862AD0}" srcOrd="0" destOrd="0" presId="urn:microsoft.com/office/officeart/2005/8/layout/chevron1"/>
    <dgm:cxn modelId="{D12350F6-1828-4D5C-A2F6-5AF43C3E2A19}" type="presParOf" srcId="{458F57BA-85F0-4F60-9A29-0B381D9FC72F}" destId="{6369563A-C728-4801-ABCA-839CB16BF0A4}" srcOrd="1" destOrd="0" presId="urn:microsoft.com/office/officeart/2005/8/layout/chevron1"/>
    <dgm:cxn modelId="{27A9F32C-36EA-4AB7-B956-4A30071A25BA}" type="presParOf" srcId="{083ADEFD-BCC8-469C-8E48-9A0077548F55}" destId="{95E8FED9-28CC-4949-8845-3D345F6A7F17}" srcOrd="7" destOrd="0" presId="urn:microsoft.com/office/officeart/2005/8/layout/chevron1"/>
    <dgm:cxn modelId="{1B0B5A8A-46A5-40AF-8689-C955971F1174}" type="presParOf" srcId="{083ADEFD-BCC8-469C-8E48-9A0077548F55}" destId="{B012C5E2-9F92-4459-AD70-0EBF76BEF608}" srcOrd="8" destOrd="0" presId="urn:microsoft.com/office/officeart/2005/8/layout/chevron1"/>
    <dgm:cxn modelId="{94BC13CD-C3A4-474C-955F-475083DC9C85}" type="presParOf" srcId="{B012C5E2-9F92-4459-AD70-0EBF76BEF608}" destId="{5C303E87-465E-4D13-8ED5-B90EDC0F02E4}" srcOrd="0" destOrd="0" presId="urn:microsoft.com/office/officeart/2005/8/layout/chevron1"/>
    <dgm:cxn modelId="{E8C7317D-1646-4DD8-89B0-9A409B57A57B}" type="presParOf" srcId="{B012C5E2-9F92-4459-AD70-0EBF76BEF608}" destId="{5BF31796-E3FC-4806-815C-92456D7B3733}" srcOrd="1" destOrd="0" presId="urn:microsoft.com/office/officeart/2005/8/layout/chevron1"/>
    <dgm:cxn modelId="{3A32D33F-78B2-4823-9F55-153291C93CC2}" type="presParOf" srcId="{083ADEFD-BCC8-469C-8E48-9A0077548F55}" destId="{DEB2E53D-52E2-492D-A6E0-EBAFF91622CC}" srcOrd="9" destOrd="0" presId="urn:microsoft.com/office/officeart/2005/8/layout/chevron1"/>
    <dgm:cxn modelId="{35EB5086-130B-47AB-89A1-EA52A2DE3AF6}" type="presParOf" srcId="{083ADEFD-BCC8-469C-8E48-9A0077548F55}" destId="{09A9519A-8A9C-42A8-87C7-8744D394FD83}" srcOrd="10" destOrd="0" presId="urn:microsoft.com/office/officeart/2005/8/layout/chevron1"/>
    <dgm:cxn modelId="{ABC65062-308E-45F2-B467-555F91CFE41F}" type="presParOf" srcId="{09A9519A-8A9C-42A8-87C7-8744D394FD83}" destId="{1B1F7217-FCC2-408F-A954-34B30CEF989D}" srcOrd="0" destOrd="0" presId="urn:microsoft.com/office/officeart/2005/8/layout/chevron1"/>
    <dgm:cxn modelId="{36F6841A-7B4A-46BF-B4F0-0372B138E4E1}" type="presParOf" srcId="{09A9519A-8A9C-42A8-87C7-8744D394FD83}" destId="{36D6393E-9476-4AC9-A78F-C2FE45501131}" srcOrd="1"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4E6D967-5D9A-4699-9984-C06882FC6689}"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13A87313-E30F-44B6-9D55-7EDBB0FE834D}">
      <dgm:prSet/>
      <dgm:spPr/>
      <dgm:t>
        <a:bodyPr/>
        <a:lstStyle/>
        <a:p>
          <a:r>
            <a:rPr lang="en-US" b="1" dirty="0">
              <a:latin typeface="Gill Sans"/>
              <a:ea typeface="Cambria" panose="02040503050406030204" pitchFamily="18" charset="0"/>
            </a:rPr>
            <a:t>Renewal</a:t>
          </a:r>
          <a:endParaRPr lang="en-US" dirty="0">
            <a:latin typeface="Gill Sans"/>
            <a:ea typeface="Cambria" panose="02040503050406030204" pitchFamily="18" charset="0"/>
          </a:endParaRPr>
        </a:p>
      </dgm:t>
    </dgm:pt>
    <dgm:pt modelId="{FAF06A21-5849-435D-942E-E94A8027BC34}" type="parTrans" cxnId="{622BA844-5EBE-45B0-9241-3C2AF2D271B7}">
      <dgm:prSet/>
      <dgm:spPr/>
      <dgm:t>
        <a:bodyPr/>
        <a:lstStyle/>
        <a:p>
          <a:endParaRPr lang="en-US">
            <a:latin typeface="Gill Sans"/>
            <a:ea typeface="Cambria" panose="02040503050406030204" pitchFamily="18" charset="0"/>
          </a:endParaRPr>
        </a:p>
      </dgm:t>
    </dgm:pt>
    <dgm:pt modelId="{A9381D54-C186-4593-B7DF-477D9FF32F87}" type="sibTrans" cxnId="{622BA844-5EBE-45B0-9241-3C2AF2D271B7}">
      <dgm:prSet/>
      <dgm:spPr/>
      <dgm:t>
        <a:bodyPr/>
        <a:lstStyle/>
        <a:p>
          <a:endParaRPr lang="en-US">
            <a:latin typeface="Gill Sans"/>
            <a:ea typeface="Cambria" panose="02040503050406030204" pitchFamily="18" charset="0"/>
          </a:endParaRPr>
        </a:p>
      </dgm:t>
    </dgm:pt>
    <dgm:pt modelId="{7D1EF881-5350-4E4B-B33F-3D21242A1865}">
      <dgm:prSet/>
      <dgm:spPr/>
      <dgm:t>
        <a:bodyPr/>
        <a:lstStyle/>
        <a:p>
          <a:r>
            <a:rPr lang="en-US" dirty="0">
              <a:latin typeface="Gill Sans"/>
              <a:ea typeface="Cambria" panose="02040503050406030204" pitchFamily="18" charset="0"/>
            </a:rPr>
            <a:t>Assigned work at the beginning of the new renewal period (i.e., a 9-month faculty member is assigned teaching for fall term)</a:t>
          </a:r>
        </a:p>
      </dgm:t>
    </dgm:pt>
    <dgm:pt modelId="{8958BFEA-09C8-49BD-8A42-4BD5695AE09B}" type="parTrans" cxnId="{688C9D50-C742-4A27-945A-CE40A26DAA51}">
      <dgm:prSet/>
      <dgm:spPr/>
      <dgm:t>
        <a:bodyPr/>
        <a:lstStyle/>
        <a:p>
          <a:endParaRPr lang="en-US">
            <a:latin typeface="Gill Sans"/>
            <a:ea typeface="Cambria" panose="02040503050406030204" pitchFamily="18" charset="0"/>
          </a:endParaRPr>
        </a:p>
      </dgm:t>
    </dgm:pt>
    <dgm:pt modelId="{E379B88A-744F-4CFF-859C-069A78696CB4}" type="sibTrans" cxnId="{688C9D50-C742-4A27-945A-CE40A26DAA51}">
      <dgm:prSet/>
      <dgm:spPr/>
      <dgm:t>
        <a:bodyPr/>
        <a:lstStyle/>
        <a:p>
          <a:endParaRPr lang="en-US">
            <a:latin typeface="Gill Sans"/>
            <a:ea typeface="Cambria" panose="02040503050406030204" pitchFamily="18" charset="0"/>
          </a:endParaRPr>
        </a:p>
      </dgm:t>
    </dgm:pt>
    <dgm:pt modelId="{A1EB19F9-104F-4A2E-9FA3-79AE1892281D}">
      <dgm:prSet/>
      <dgm:spPr/>
      <dgm:t>
        <a:bodyPr/>
        <a:lstStyle/>
        <a:p>
          <a:r>
            <a:rPr lang="en-US" dirty="0">
              <a:latin typeface="Gill Sans"/>
              <a:ea typeface="Cambria" panose="02040503050406030204" pitchFamily="18" charset="0"/>
            </a:rPr>
            <a:t>Use if a non-renewal proposal has been approved, the employee has been informed in writing by the supervisor and HR, </a:t>
          </a:r>
          <a:r>
            <a:rPr lang="en-US" u="sng" dirty="0">
              <a:latin typeface="Gill Sans"/>
              <a:ea typeface="Cambria" panose="02040503050406030204" pitchFamily="18" charset="0"/>
            </a:rPr>
            <a:t>and</a:t>
          </a:r>
          <a:r>
            <a:rPr lang="en-US" dirty="0">
              <a:latin typeface="Gill Sans"/>
              <a:ea typeface="Cambria" panose="02040503050406030204" pitchFamily="18" charset="0"/>
            </a:rPr>
            <a:t> you are prepared for the appointment to be automatically ended in Banner. This is </a:t>
          </a:r>
          <a:r>
            <a:rPr lang="en-US" b="1" dirty="0">
              <a:latin typeface="Gill Sans"/>
              <a:ea typeface="Cambria" panose="02040503050406030204" pitchFamily="18" charset="0"/>
            </a:rPr>
            <a:t>RARE</a:t>
          </a:r>
          <a:r>
            <a:rPr lang="en-US" dirty="0">
              <a:latin typeface="Gill Sans"/>
              <a:ea typeface="Cambria" panose="02040503050406030204" pitchFamily="18" charset="0"/>
            </a:rPr>
            <a:t>.</a:t>
          </a:r>
        </a:p>
      </dgm:t>
    </dgm:pt>
    <dgm:pt modelId="{D2C54160-845A-4505-96A2-7F35228B0C9B}" type="parTrans" cxnId="{0F55B9BB-790F-4189-8E86-FF20699878C7}">
      <dgm:prSet/>
      <dgm:spPr/>
      <dgm:t>
        <a:bodyPr/>
        <a:lstStyle/>
        <a:p>
          <a:endParaRPr lang="en-US">
            <a:latin typeface="Gill Sans"/>
            <a:ea typeface="Cambria" panose="02040503050406030204" pitchFamily="18" charset="0"/>
          </a:endParaRPr>
        </a:p>
      </dgm:t>
    </dgm:pt>
    <dgm:pt modelId="{7E99DA09-DA72-478D-9A9F-B3513996D82F}" type="sibTrans" cxnId="{0F55B9BB-790F-4189-8E86-FF20699878C7}">
      <dgm:prSet/>
      <dgm:spPr/>
      <dgm:t>
        <a:bodyPr/>
        <a:lstStyle/>
        <a:p>
          <a:endParaRPr lang="en-US">
            <a:latin typeface="Gill Sans"/>
            <a:ea typeface="Cambria" panose="02040503050406030204" pitchFamily="18" charset="0"/>
          </a:endParaRPr>
        </a:p>
      </dgm:t>
    </dgm:pt>
    <dgm:pt modelId="{13D5A083-29D6-4E88-9DBA-AD5D4A1992DB}">
      <dgm:prSet/>
      <dgm:spPr/>
      <dgm:t>
        <a:bodyPr/>
        <a:lstStyle/>
        <a:p>
          <a:pPr algn="ctr"/>
          <a:r>
            <a:rPr lang="en-US" b="1" dirty="0">
              <a:latin typeface="Gill Sans"/>
              <a:ea typeface="Cambria" panose="02040503050406030204" pitchFamily="18" charset="0"/>
            </a:rPr>
            <a:t>Revised Appointment Date</a:t>
          </a:r>
        </a:p>
      </dgm:t>
    </dgm:pt>
    <dgm:pt modelId="{06288ED0-39BF-4266-B424-7E131AABCBF2}" type="parTrans" cxnId="{DF12D165-53BA-453B-897F-FD9A34752FAB}">
      <dgm:prSet/>
      <dgm:spPr/>
      <dgm:t>
        <a:bodyPr/>
        <a:lstStyle/>
        <a:p>
          <a:endParaRPr lang="en-US">
            <a:latin typeface="Gill Sans"/>
            <a:ea typeface="Cambria" panose="02040503050406030204" pitchFamily="18" charset="0"/>
          </a:endParaRPr>
        </a:p>
      </dgm:t>
    </dgm:pt>
    <dgm:pt modelId="{A216445D-DC32-403B-AF2F-8A89B55A6BF6}" type="sibTrans" cxnId="{DF12D165-53BA-453B-897F-FD9A34752FAB}">
      <dgm:prSet/>
      <dgm:spPr/>
      <dgm:t>
        <a:bodyPr/>
        <a:lstStyle/>
        <a:p>
          <a:endParaRPr lang="en-US">
            <a:latin typeface="Gill Sans"/>
            <a:ea typeface="Cambria" panose="02040503050406030204" pitchFamily="18" charset="0"/>
          </a:endParaRPr>
        </a:p>
      </dgm:t>
    </dgm:pt>
    <dgm:pt modelId="{263424EA-1C2F-40A0-80F6-C93871EF797B}">
      <dgm:prSet/>
      <dgm:spPr/>
      <dgm:t>
        <a:bodyPr/>
        <a:lstStyle/>
        <a:p>
          <a:pPr algn="l"/>
          <a:r>
            <a:rPr lang="en-US" dirty="0">
              <a:latin typeface="Gill Sans"/>
              <a:ea typeface="Cambria" panose="02040503050406030204" pitchFamily="18" charset="0"/>
            </a:rPr>
            <a:t>Same FTE</a:t>
          </a:r>
        </a:p>
      </dgm:t>
    </dgm:pt>
    <dgm:pt modelId="{275B68D4-383A-41F5-8C84-102243AA04F9}" type="parTrans" cxnId="{9D5A9A29-8B4E-43B6-A017-FD4BB0E64FAE}">
      <dgm:prSet/>
      <dgm:spPr/>
      <dgm:t>
        <a:bodyPr/>
        <a:lstStyle/>
        <a:p>
          <a:endParaRPr lang="en-US">
            <a:latin typeface="Gill Sans"/>
            <a:ea typeface="Cambria" panose="02040503050406030204" pitchFamily="18" charset="0"/>
          </a:endParaRPr>
        </a:p>
      </dgm:t>
    </dgm:pt>
    <dgm:pt modelId="{603CEE24-0A7F-4A83-B628-09EE10083EAA}" type="sibTrans" cxnId="{9D5A9A29-8B4E-43B6-A017-FD4BB0E64FAE}">
      <dgm:prSet/>
      <dgm:spPr/>
      <dgm:t>
        <a:bodyPr/>
        <a:lstStyle/>
        <a:p>
          <a:endParaRPr lang="en-US">
            <a:latin typeface="Gill Sans"/>
            <a:ea typeface="Cambria" panose="02040503050406030204" pitchFamily="18" charset="0"/>
          </a:endParaRPr>
        </a:p>
      </dgm:t>
    </dgm:pt>
    <dgm:pt modelId="{38AE5FC3-B820-4F81-BA44-E39E31FFDAD5}">
      <dgm:prSet/>
      <dgm:spPr/>
      <dgm:t>
        <a:bodyPr/>
        <a:lstStyle/>
        <a:p>
          <a:pPr algn="l"/>
          <a:r>
            <a:rPr lang="en-US" dirty="0">
              <a:latin typeface="Gill Sans"/>
              <a:ea typeface="Cambria" panose="02040503050406030204" pitchFamily="18" charset="0"/>
            </a:rPr>
            <a:t>New appointment will begin the day after the current appointment ends</a:t>
          </a:r>
        </a:p>
      </dgm:t>
    </dgm:pt>
    <dgm:pt modelId="{BCFCA406-712A-419E-BFEC-5DE9D5317ED0}" type="parTrans" cxnId="{1F9A0FF4-E464-46FE-BCD4-77560B3FED4A}">
      <dgm:prSet/>
      <dgm:spPr/>
      <dgm:t>
        <a:bodyPr/>
        <a:lstStyle/>
        <a:p>
          <a:endParaRPr lang="en-US">
            <a:latin typeface="Gill Sans"/>
            <a:ea typeface="Cambria" panose="02040503050406030204" pitchFamily="18" charset="0"/>
          </a:endParaRPr>
        </a:p>
      </dgm:t>
    </dgm:pt>
    <dgm:pt modelId="{E60AC101-07F3-4720-856C-CFF304587AE5}" type="sibTrans" cxnId="{1F9A0FF4-E464-46FE-BCD4-77560B3FED4A}">
      <dgm:prSet/>
      <dgm:spPr/>
      <dgm:t>
        <a:bodyPr/>
        <a:lstStyle/>
        <a:p>
          <a:endParaRPr lang="en-US">
            <a:latin typeface="Gill Sans"/>
            <a:ea typeface="Cambria" panose="02040503050406030204" pitchFamily="18" charset="0"/>
          </a:endParaRPr>
        </a:p>
      </dgm:t>
    </dgm:pt>
    <dgm:pt modelId="{5C35C210-992F-405B-9648-8AC013ACF150}">
      <dgm:prSet/>
      <dgm:spPr/>
      <dgm:t>
        <a:bodyPr/>
        <a:lstStyle/>
        <a:p>
          <a:pPr algn="l"/>
          <a:r>
            <a:rPr lang="en-US" u="none" dirty="0">
              <a:latin typeface="Gill Sans"/>
              <a:ea typeface="Cambria" panose="02040503050406030204" pitchFamily="18" charset="0"/>
            </a:rPr>
            <a:t>Must specify when the new appointment will end</a:t>
          </a:r>
          <a:endParaRPr lang="en-US" u="sng" dirty="0">
            <a:latin typeface="Gill Sans"/>
            <a:ea typeface="Cambria" panose="02040503050406030204" pitchFamily="18" charset="0"/>
          </a:endParaRPr>
        </a:p>
      </dgm:t>
    </dgm:pt>
    <dgm:pt modelId="{CF477F21-F450-4D16-803D-8289BD197DFF}" type="parTrans" cxnId="{91C32260-6120-4014-B16C-79E2D15A3D2B}">
      <dgm:prSet/>
      <dgm:spPr/>
      <dgm:t>
        <a:bodyPr/>
        <a:lstStyle/>
        <a:p>
          <a:endParaRPr lang="en-US">
            <a:latin typeface="Gill Sans"/>
            <a:ea typeface="Cambria" panose="02040503050406030204" pitchFamily="18" charset="0"/>
          </a:endParaRPr>
        </a:p>
      </dgm:t>
    </dgm:pt>
    <dgm:pt modelId="{C72F4FA8-8E1F-47AB-90D8-E8BA679647F3}" type="sibTrans" cxnId="{91C32260-6120-4014-B16C-79E2D15A3D2B}">
      <dgm:prSet/>
      <dgm:spPr/>
      <dgm:t>
        <a:bodyPr/>
        <a:lstStyle/>
        <a:p>
          <a:endParaRPr lang="en-US">
            <a:latin typeface="Gill Sans"/>
            <a:ea typeface="Cambria" panose="02040503050406030204" pitchFamily="18" charset="0"/>
          </a:endParaRPr>
        </a:p>
      </dgm:t>
    </dgm:pt>
    <dgm:pt modelId="{26A4243B-E386-40F9-9FB4-46A0CCF44EBE}">
      <dgm:prSet/>
      <dgm:spPr/>
      <dgm:t>
        <a:bodyPr/>
        <a:lstStyle/>
        <a:p>
          <a:r>
            <a:rPr lang="en-US" dirty="0">
              <a:latin typeface="Gill Sans"/>
              <a:ea typeface="Cambria" panose="02040503050406030204" pitchFamily="18" charset="0"/>
            </a:rPr>
            <a:t>Same FTE as displayed in the system</a:t>
          </a:r>
        </a:p>
      </dgm:t>
    </dgm:pt>
    <dgm:pt modelId="{EEC23CB5-314F-4DE7-8F62-99459CC70685}" type="parTrans" cxnId="{3C07C8F4-25C0-47F4-95B8-DBD3D96CB445}">
      <dgm:prSet/>
      <dgm:spPr/>
      <dgm:t>
        <a:bodyPr/>
        <a:lstStyle/>
        <a:p>
          <a:endParaRPr lang="en-US">
            <a:latin typeface="Gill Sans"/>
            <a:ea typeface="Cambria" panose="02040503050406030204" pitchFamily="18" charset="0"/>
          </a:endParaRPr>
        </a:p>
      </dgm:t>
    </dgm:pt>
    <dgm:pt modelId="{551718AE-F293-45C5-BF30-138E5FDA41C3}" type="sibTrans" cxnId="{3C07C8F4-25C0-47F4-95B8-DBD3D96CB445}">
      <dgm:prSet/>
      <dgm:spPr/>
      <dgm:t>
        <a:bodyPr/>
        <a:lstStyle/>
        <a:p>
          <a:endParaRPr lang="en-US">
            <a:latin typeface="Gill Sans"/>
            <a:ea typeface="Cambria" panose="02040503050406030204" pitchFamily="18" charset="0"/>
          </a:endParaRPr>
        </a:p>
      </dgm:t>
    </dgm:pt>
    <dgm:pt modelId="{E6492FC6-1B27-4978-9BEE-79806263EA37}">
      <dgm:prSet/>
      <dgm:spPr/>
      <dgm:t>
        <a:bodyPr/>
        <a:lstStyle/>
        <a:p>
          <a:r>
            <a:rPr lang="en-US" b="1" dirty="0">
              <a:latin typeface="Gill Sans"/>
              <a:ea typeface="Cambria" panose="02040503050406030204" pitchFamily="18" charset="0"/>
            </a:rPr>
            <a:t>Non-renewal</a:t>
          </a:r>
          <a:endParaRPr lang="en-US" dirty="0">
            <a:latin typeface="Gill Sans"/>
            <a:ea typeface="Cambria" panose="02040503050406030204" pitchFamily="18" charset="0"/>
          </a:endParaRPr>
        </a:p>
      </dgm:t>
    </dgm:pt>
    <dgm:pt modelId="{CB319F1F-0CC3-4683-A98E-ADCE08751EAB}" type="parTrans" cxnId="{9C0A67F1-51AD-46B9-976F-0EC4EF5D73E5}">
      <dgm:prSet/>
      <dgm:spPr/>
      <dgm:t>
        <a:bodyPr/>
        <a:lstStyle/>
        <a:p>
          <a:endParaRPr lang="en-US">
            <a:latin typeface="Gill Sans"/>
            <a:ea typeface="Cambria" panose="02040503050406030204" pitchFamily="18" charset="0"/>
          </a:endParaRPr>
        </a:p>
      </dgm:t>
    </dgm:pt>
    <dgm:pt modelId="{ACB98F10-5671-4D3A-AAF7-9B8F91972D0B}" type="sibTrans" cxnId="{9C0A67F1-51AD-46B9-976F-0EC4EF5D73E5}">
      <dgm:prSet/>
      <dgm:spPr/>
      <dgm:t>
        <a:bodyPr/>
        <a:lstStyle/>
        <a:p>
          <a:endParaRPr lang="en-US">
            <a:latin typeface="Gill Sans"/>
            <a:ea typeface="Cambria" panose="02040503050406030204" pitchFamily="18" charset="0"/>
          </a:endParaRPr>
        </a:p>
      </dgm:t>
    </dgm:pt>
    <dgm:pt modelId="{1A557F8B-6CD3-40D3-BE19-006A0FBE15B0}">
      <dgm:prSet/>
      <dgm:spPr/>
      <dgm:t>
        <a:bodyPr/>
        <a:lstStyle/>
        <a:p>
          <a:pPr algn="ctr"/>
          <a:r>
            <a:rPr lang="en-US" b="1" u="none" dirty="0">
              <a:latin typeface="Gill Sans"/>
              <a:ea typeface="Cambria" panose="02040503050406030204" pitchFamily="18" charset="0"/>
            </a:rPr>
            <a:t>Uncertain</a:t>
          </a:r>
          <a:endParaRPr lang="en-US" u="sng" dirty="0">
            <a:latin typeface="Gill Sans"/>
            <a:ea typeface="Cambria" panose="02040503050406030204" pitchFamily="18" charset="0"/>
          </a:endParaRPr>
        </a:p>
      </dgm:t>
    </dgm:pt>
    <dgm:pt modelId="{BCE5D4F9-F127-4003-B17B-0CEB8B84197F}" type="parTrans" cxnId="{756D8E25-FE21-4A42-A7D6-CB827715E81B}">
      <dgm:prSet/>
      <dgm:spPr/>
      <dgm:t>
        <a:bodyPr/>
        <a:lstStyle/>
        <a:p>
          <a:endParaRPr lang="en-US">
            <a:latin typeface="Gill Sans"/>
            <a:ea typeface="Cambria" panose="02040503050406030204" pitchFamily="18" charset="0"/>
          </a:endParaRPr>
        </a:p>
      </dgm:t>
    </dgm:pt>
    <dgm:pt modelId="{C61A8D77-7639-4147-A4D7-4663BB782B36}" type="sibTrans" cxnId="{756D8E25-FE21-4A42-A7D6-CB827715E81B}">
      <dgm:prSet/>
      <dgm:spPr/>
      <dgm:t>
        <a:bodyPr/>
        <a:lstStyle/>
        <a:p>
          <a:endParaRPr lang="en-US">
            <a:latin typeface="Gill Sans"/>
            <a:ea typeface="Cambria" panose="02040503050406030204" pitchFamily="18" charset="0"/>
          </a:endParaRPr>
        </a:p>
      </dgm:t>
    </dgm:pt>
    <dgm:pt modelId="{A5BC224A-83D7-4781-A72C-6978671C5326}">
      <dgm:prSet/>
      <dgm:spPr/>
      <dgm:t>
        <a:bodyPr/>
        <a:lstStyle/>
        <a:p>
          <a:r>
            <a:rPr lang="en-US" u="none" dirty="0">
              <a:latin typeface="Gill Sans"/>
              <a:ea typeface="Cambria" panose="02040503050406030204" pitchFamily="18" charset="0"/>
            </a:rPr>
            <a:t>Removes employee from automated processes</a:t>
          </a:r>
        </a:p>
      </dgm:t>
    </dgm:pt>
    <dgm:pt modelId="{ABFEC2AD-BFC3-43AD-AA48-A66D0746B36A}" type="parTrans" cxnId="{B30E12AE-E049-4D0B-8F05-37AD6B9E8594}">
      <dgm:prSet/>
      <dgm:spPr/>
      <dgm:t>
        <a:bodyPr/>
        <a:lstStyle/>
        <a:p>
          <a:endParaRPr lang="en-US">
            <a:latin typeface="Gill Sans"/>
            <a:ea typeface="Cambria" panose="02040503050406030204" pitchFamily="18" charset="0"/>
          </a:endParaRPr>
        </a:p>
      </dgm:t>
    </dgm:pt>
    <dgm:pt modelId="{75B4D7BE-EA6A-411A-ABBA-DA7D50AA3FBC}" type="sibTrans" cxnId="{B30E12AE-E049-4D0B-8F05-37AD6B9E8594}">
      <dgm:prSet/>
      <dgm:spPr/>
      <dgm:t>
        <a:bodyPr/>
        <a:lstStyle/>
        <a:p>
          <a:endParaRPr lang="en-US">
            <a:latin typeface="Gill Sans"/>
            <a:ea typeface="Cambria" panose="02040503050406030204" pitchFamily="18" charset="0"/>
          </a:endParaRPr>
        </a:p>
      </dgm:t>
    </dgm:pt>
    <dgm:pt modelId="{107D754C-B868-4542-8801-B4FE98FDEF86}">
      <dgm:prSet/>
      <dgm:spPr/>
      <dgm:t>
        <a:bodyPr/>
        <a:lstStyle/>
        <a:p>
          <a:r>
            <a:rPr lang="en-US" b="0" u="none" dirty="0">
              <a:latin typeface="Gill Sans"/>
              <a:ea typeface="Cambria" panose="02040503050406030204" pitchFamily="18" charset="0"/>
            </a:rPr>
            <a:t>Use when</a:t>
          </a:r>
          <a:r>
            <a:rPr lang="en-US" b="0" u="sng" dirty="0">
              <a:latin typeface="Gill Sans"/>
              <a:ea typeface="Cambria" panose="02040503050406030204" pitchFamily="18" charset="0"/>
            </a:rPr>
            <a:t> </a:t>
          </a:r>
          <a:r>
            <a:rPr lang="en-US" b="1" u="sng" dirty="0">
              <a:latin typeface="Gill Sans"/>
              <a:ea typeface="Cambria" panose="02040503050406030204" pitchFamily="18" charset="0"/>
            </a:rPr>
            <a:t>FTE is changing</a:t>
          </a:r>
        </a:p>
      </dgm:t>
    </dgm:pt>
    <dgm:pt modelId="{038C9FDC-19D7-4B87-A353-ED39AA3B5ADE}" type="parTrans" cxnId="{4BF35BE5-18BF-4ECF-98B3-E27D40EED199}">
      <dgm:prSet/>
      <dgm:spPr/>
      <dgm:t>
        <a:bodyPr/>
        <a:lstStyle/>
        <a:p>
          <a:endParaRPr lang="en-US">
            <a:latin typeface="Gill Sans"/>
            <a:ea typeface="Cambria" panose="02040503050406030204" pitchFamily="18" charset="0"/>
          </a:endParaRPr>
        </a:p>
      </dgm:t>
    </dgm:pt>
    <dgm:pt modelId="{7F15BC94-8FCB-4C7A-A9DC-D450FCB161FE}" type="sibTrans" cxnId="{4BF35BE5-18BF-4ECF-98B3-E27D40EED199}">
      <dgm:prSet/>
      <dgm:spPr/>
      <dgm:t>
        <a:bodyPr/>
        <a:lstStyle/>
        <a:p>
          <a:endParaRPr lang="en-US">
            <a:latin typeface="Gill Sans"/>
            <a:ea typeface="Cambria" panose="02040503050406030204" pitchFamily="18" charset="0"/>
          </a:endParaRPr>
        </a:p>
      </dgm:t>
    </dgm:pt>
    <dgm:pt modelId="{C3DCD881-87D4-47AE-959C-A243996DABCB}">
      <dgm:prSet/>
      <dgm:spPr/>
      <dgm:t>
        <a:bodyPr/>
        <a:lstStyle/>
        <a:p>
          <a:r>
            <a:rPr lang="en-US" b="1" u="none" dirty="0">
              <a:latin typeface="Gill Sans"/>
              <a:ea typeface="Cambria" panose="02040503050406030204" pitchFamily="18" charset="0"/>
            </a:rPr>
            <a:t>Not in this department</a:t>
          </a:r>
        </a:p>
      </dgm:t>
    </dgm:pt>
    <dgm:pt modelId="{A34A6B63-8057-4CE9-8107-159FD20F66B9}" type="parTrans" cxnId="{A8332ED8-B416-44CC-81E1-BEC865E3681D}">
      <dgm:prSet/>
      <dgm:spPr/>
      <dgm:t>
        <a:bodyPr/>
        <a:lstStyle/>
        <a:p>
          <a:endParaRPr lang="en-US">
            <a:latin typeface="Gill Sans"/>
            <a:ea typeface="Cambria" panose="02040503050406030204" pitchFamily="18" charset="0"/>
          </a:endParaRPr>
        </a:p>
      </dgm:t>
    </dgm:pt>
    <dgm:pt modelId="{F400D00E-753F-4DD0-925B-1E2538666F26}" type="sibTrans" cxnId="{A8332ED8-B416-44CC-81E1-BEC865E3681D}">
      <dgm:prSet/>
      <dgm:spPr/>
      <dgm:t>
        <a:bodyPr/>
        <a:lstStyle/>
        <a:p>
          <a:endParaRPr lang="en-US">
            <a:latin typeface="Gill Sans"/>
            <a:ea typeface="Cambria" panose="02040503050406030204" pitchFamily="18" charset="0"/>
          </a:endParaRPr>
        </a:p>
      </dgm:t>
    </dgm:pt>
    <dgm:pt modelId="{F31ECD12-03AD-4BFA-84C8-80EA3F275F8F}">
      <dgm:prSet/>
      <dgm:spPr/>
      <dgm:t>
        <a:bodyPr/>
        <a:lstStyle/>
        <a:p>
          <a:r>
            <a:rPr lang="en-US" u="none" dirty="0">
              <a:latin typeface="Gill Sans"/>
              <a:ea typeface="Cambria" panose="02040503050406030204" pitchFamily="18" charset="0"/>
            </a:rPr>
            <a:t>Recall the spreadsheets based on data snapshot from mid-March; changes since that time not reflected</a:t>
          </a:r>
        </a:p>
      </dgm:t>
    </dgm:pt>
    <dgm:pt modelId="{06906A13-A9B5-4609-854F-8E332BB2FA50}" type="parTrans" cxnId="{D7186751-A3AB-4857-B331-52BA7F55B56B}">
      <dgm:prSet/>
      <dgm:spPr/>
      <dgm:t>
        <a:bodyPr/>
        <a:lstStyle/>
        <a:p>
          <a:endParaRPr lang="en-US">
            <a:latin typeface="Gill Sans"/>
            <a:ea typeface="Cambria" panose="02040503050406030204" pitchFamily="18" charset="0"/>
          </a:endParaRPr>
        </a:p>
      </dgm:t>
    </dgm:pt>
    <dgm:pt modelId="{40BA1084-C3D5-4E93-B075-C390A8856ADD}" type="sibTrans" cxnId="{D7186751-A3AB-4857-B331-52BA7F55B56B}">
      <dgm:prSet/>
      <dgm:spPr/>
      <dgm:t>
        <a:bodyPr/>
        <a:lstStyle/>
        <a:p>
          <a:endParaRPr lang="en-US">
            <a:latin typeface="Gill Sans"/>
            <a:ea typeface="Cambria" panose="02040503050406030204" pitchFamily="18" charset="0"/>
          </a:endParaRPr>
        </a:p>
      </dgm:t>
    </dgm:pt>
    <dgm:pt modelId="{2024466F-E4C2-4797-A167-9842BB5A0E29}">
      <dgm:prSet/>
      <dgm:spPr/>
      <dgm:t>
        <a:bodyPr/>
        <a:lstStyle/>
        <a:p>
          <a:r>
            <a:rPr lang="en-US" u="none" dirty="0">
              <a:latin typeface="Gill Sans"/>
              <a:ea typeface="Cambria" panose="02040503050406030204" pitchFamily="18" charset="0"/>
            </a:rPr>
            <a:t>Indicate which timesheet organization the employee should be moved to. If you are unsure, contact your HRSP.</a:t>
          </a:r>
        </a:p>
      </dgm:t>
    </dgm:pt>
    <dgm:pt modelId="{E0BB5292-E3A9-4F1C-89B7-8F46F306B4E5}" type="parTrans" cxnId="{31A684BD-1DE6-4B45-B741-992B8AC8D755}">
      <dgm:prSet/>
      <dgm:spPr/>
      <dgm:t>
        <a:bodyPr/>
        <a:lstStyle/>
        <a:p>
          <a:endParaRPr lang="en-US">
            <a:latin typeface="Gill Sans"/>
            <a:ea typeface="Cambria" panose="02040503050406030204" pitchFamily="18" charset="0"/>
          </a:endParaRPr>
        </a:p>
      </dgm:t>
    </dgm:pt>
    <dgm:pt modelId="{9F7E4859-D0E5-4680-BED5-FC1B36BEE008}" type="sibTrans" cxnId="{31A684BD-1DE6-4B45-B741-992B8AC8D755}">
      <dgm:prSet/>
      <dgm:spPr/>
      <dgm:t>
        <a:bodyPr/>
        <a:lstStyle/>
        <a:p>
          <a:endParaRPr lang="en-US">
            <a:latin typeface="Gill Sans"/>
            <a:ea typeface="Cambria" panose="02040503050406030204" pitchFamily="18" charset="0"/>
          </a:endParaRPr>
        </a:p>
      </dgm:t>
    </dgm:pt>
    <dgm:pt modelId="{E474E503-BB43-4419-BB46-3404440E0E4F}">
      <dgm:prSet/>
      <dgm:spPr/>
      <dgm:t>
        <a:bodyPr/>
        <a:lstStyle/>
        <a:p>
          <a:r>
            <a:rPr lang="en-US" u="none" dirty="0">
              <a:latin typeface="Gill Sans"/>
              <a:ea typeface="Cambria" panose="02040503050406030204" pitchFamily="18" charset="0"/>
            </a:rPr>
            <a:t>Removes employee from automated processes</a:t>
          </a:r>
        </a:p>
      </dgm:t>
    </dgm:pt>
    <dgm:pt modelId="{907AA246-8098-4CEF-B52F-90872664523A}" type="parTrans" cxnId="{21773D57-1A89-46C2-8765-0FA5A0A68C41}">
      <dgm:prSet/>
      <dgm:spPr/>
      <dgm:t>
        <a:bodyPr/>
        <a:lstStyle/>
        <a:p>
          <a:endParaRPr lang="en-US">
            <a:latin typeface="Gill Sans"/>
            <a:ea typeface="Cambria" panose="02040503050406030204" pitchFamily="18" charset="0"/>
          </a:endParaRPr>
        </a:p>
      </dgm:t>
    </dgm:pt>
    <dgm:pt modelId="{A856352A-0445-49D2-B016-AFDD7A3D2644}" type="sibTrans" cxnId="{21773D57-1A89-46C2-8765-0FA5A0A68C41}">
      <dgm:prSet/>
      <dgm:spPr/>
      <dgm:t>
        <a:bodyPr/>
        <a:lstStyle/>
        <a:p>
          <a:endParaRPr lang="en-US">
            <a:latin typeface="Gill Sans"/>
            <a:ea typeface="Cambria" panose="02040503050406030204" pitchFamily="18" charset="0"/>
          </a:endParaRPr>
        </a:p>
      </dgm:t>
    </dgm:pt>
    <dgm:pt modelId="{39425F0D-1773-4E34-9A86-4DABB81D52F8}">
      <dgm:prSet/>
      <dgm:spPr/>
      <dgm:t>
        <a:bodyPr/>
        <a:lstStyle/>
        <a:p>
          <a:r>
            <a:rPr lang="en-US" dirty="0">
              <a:latin typeface="Gill Sans"/>
              <a:ea typeface="Cambria" panose="02040503050406030204" pitchFamily="18" charset="0"/>
            </a:rPr>
            <a:t>Use if you have received a </a:t>
          </a:r>
          <a:r>
            <a:rPr lang="en-US" b="1" dirty="0">
              <a:latin typeface="Gill Sans"/>
              <a:ea typeface="Cambria" panose="02040503050406030204" pitchFamily="18" charset="0"/>
            </a:rPr>
            <a:t>written resignation </a:t>
          </a:r>
          <a:r>
            <a:rPr lang="en-US" dirty="0">
              <a:latin typeface="Gill Sans"/>
              <a:ea typeface="Cambria" panose="02040503050406030204" pitchFamily="18" charset="0"/>
            </a:rPr>
            <a:t>from the employee</a:t>
          </a:r>
          <a:endParaRPr lang="en-US" u="none" dirty="0">
            <a:latin typeface="Gill Sans"/>
            <a:ea typeface="Cambria" panose="02040503050406030204" pitchFamily="18" charset="0"/>
          </a:endParaRPr>
        </a:p>
      </dgm:t>
    </dgm:pt>
    <dgm:pt modelId="{DA11CA5B-2B5E-4573-8632-99C18D80CAFB}" type="parTrans" cxnId="{0401ACF5-7672-4B87-9349-62A40C099F81}">
      <dgm:prSet/>
      <dgm:spPr/>
      <dgm:t>
        <a:bodyPr/>
        <a:lstStyle/>
        <a:p>
          <a:endParaRPr lang="en-US">
            <a:latin typeface="Gill Sans"/>
          </a:endParaRPr>
        </a:p>
      </dgm:t>
    </dgm:pt>
    <dgm:pt modelId="{CAE0DD3D-3544-468C-BA22-1D97B80BBC39}" type="sibTrans" cxnId="{0401ACF5-7672-4B87-9349-62A40C099F81}">
      <dgm:prSet/>
      <dgm:spPr/>
      <dgm:t>
        <a:bodyPr/>
        <a:lstStyle/>
        <a:p>
          <a:endParaRPr lang="en-US">
            <a:latin typeface="Gill Sans"/>
          </a:endParaRPr>
        </a:p>
      </dgm:t>
    </dgm:pt>
    <dgm:pt modelId="{0B0DDBB8-B2F6-43BD-917E-6FFEB25BA2DA}">
      <dgm:prSet/>
      <dgm:spPr/>
      <dgm:t>
        <a:bodyPr/>
        <a:lstStyle/>
        <a:p>
          <a:r>
            <a:rPr lang="en-US" u="none" dirty="0">
              <a:latin typeface="Gill Sans"/>
              <a:ea typeface="Cambria" panose="02040503050406030204" pitchFamily="18" charset="0"/>
            </a:rPr>
            <a:t>HRSP and/or ELR will work with department on decisions and will inform Service Center if Banner processing or renewal letter is needed</a:t>
          </a:r>
        </a:p>
      </dgm:t>
    </dgm:pt>
    <dgm:pt modelId="{13FB7044-5B39-4397-A823-62402CA84A95}" type="parTrans" cxnId="{5C3CD309-A4C4-4650-8730-040681B11B91}">
      <dgm:prSet/>
      <dgm:spPr/>
      <dgm:t>
        <a:bodyPr/>
        <a:lstStyle/>
        <a:p>
          <a:endParaRPr lang="en-US">
            <a:latin typeface="Gill Sans"/>
          </a:endParaRPr>
        </a:p>
      </dgm:t>
    </dgm:pt>
    <dgm:pt modelId="{10B2FD02-E004-4C50-94B9-424CB5E6C615}" type="sibTrans" cxnId="{5C3CD309-A4C4-4650-8730-040681B11B91}">
      <dgm:prSet/>
      <dgm:spPr/>
      <dgm:t>
        <a:bodyPr/>
        <a:lstStyle/>
        <a:p>
          <a:endParaRPr lang="en-US">
            <a:latin typeface="Gill Sans"/>
          </a:endParaRPr>
        </a:p>
      </dgm:t>
    </dgm:pt>
    <dgm:pt modelId="{DEDDB031-F06A-447E-B512-6BCA7494599B}">
      <dgm:prSet/>
      <dgm:spPr/>
      <dgm:t>
        <a:bodyPr/>
        <a:lstStyle/>
        <a:p>
          <a:pPr algn="l"/>
          <a:r>
            <a:rPr lang="en-US" u="none" dirty="0">
              <a:latin typeface="Gill Sans"/>
              <a:ea typeface="Cambria" panose="02040503050406030204" pitchFamily="18" charset="0"/>
            </a:rPr>
            <a:t>Most commonly used in situations where external funding is uncertain on 12-month appointments. </a:t>
          </a:r>
        </a:p>
      </dgm:t>
    </dgm:pt>
    <dgm:pt modelId="{22FCA8BB-8126-4693-AAB0-AB788B6412F2}" type="parTrans" cxnId="{79BDD075-7C1F-4A37-AAB8-9DD3B7C672B6}">
      <dgm:prSet/>
      <dgm:spPr/>
      <dgm:t>
        <a:bodyPr/>
        <a:lstStyle/>
        <a:p>
          <a:endParaRPr lang="en-US">
            <a:latin typeface="Gill Sans"/>
          </a:endParaRPr>
        </a:p>
      </dgm:t>
    </dgm:pt>
    <dgm:pt modelId="{643F418E-D2C0-4CAD-A24D-084B9FCD1C9B}" type="sibTrans" cxnId="{79BDD075-7C1F-4A37-AAB8-9DD3B7C672B6}">
      <dgm:prSet/>
      <dgm:spPr/>
      <dgm:t>
        <a:bodyPr/>
        <a:lstStyle/>
        <a:p>
          <a:endParaRPr lang="en-US">
            <a:latin typeface="Gill Sans"/>
          </a:endParaRPr>
        </a:p>
      </dgm:t>
    </dgm:pt>
    <dgm:pt modelId="{AA936811-2213-4A5C-BE08-F7442FFC1A55}">
      <dgm:prSet/>
      <dgm:spPr/>
      <dgm:t>
        <a:bodyPr/>
        <a:lstStyle/>
        <a:p>
          <a:r>
            <a:rPr lang="en-US" u="none" dirty="0">
              <a:latin typeface="Gill Sans"/>
              <a:ea typeface="Cambria" panose="02040503050406030204" pitchFamily="18" charset="0"/>
            </a:rPr>
            <a:t>Use if considering non-renewal but approval has not yet been obtained</a:t>
          </a:r>
        </a:p>
      </dgm:t>
    </dgm:pt>
    <dgm:pt modelId="{7283D01E-C32D-428E-A5F7-2D9F683AD3E6}" type="parTrans" cxnId="{4E9D20E8-5E23-4E83-B154-C3D67C376E89}">
      <dgm:prSet/>
      <dgm:spPr/>
      <dgm:t>
        <a:bodyPr/>
        <a:lstStyle/>
        <a:p>
          <a:endParaRPr lang="en-US">
            <a:latin typeface="Gill Sans"/>
          </a:endParaRPr>
        </a:p>
      </dgm:t>
    </dgm:pt>
    <dgm:pt modelId="{7F7E211C-FDD3-490F-B1DF-79FC405A9FDF}" type="sibTrans" cxnId="{4E9D20E8-5E23-4E83-B154-C3D67C376E89}">
      <dgm:prSet/>
      <dgm:spPr/>
      <dgm:t>
        <a:bodyPr/>
        <a:lstStyle/>
        <a:p>
          <a:endParaRPr lang="en-US">
            <a:latin typeface="Gill Sans"/>
          </a:endParaRPr>
        </a:p>
      </dgm:t>
    </dgm:pt>
    <dgm:pt modelId="{11DC68D9-6B30-4EC3-86BA-D59477446E09}">
      <dgm:prSet/>
      <dgm:spPr/>
      <dgm:t>
        <a:bodyPr/>
        <a:lstStyle/>
        <a:p>
          <a:r>
            <a:rPr lang="en-US" u="none" dirty="0">
              <a:latin typeface="Gill Sans"/>
              <a:ea typeface="Cambria" panose="02040503050406030204" pitchFamily="18" charset="0"/>
            </a:rPr>
            <a:t>Use if situation is otherwise too complicated for automatic processing </a:t>
          </a:r>
        </a:p>
      </dgm:t>
    </dgm:pt>
    <dgm:pt modelId="{9711E1DA-95C3-4EE0-9B12-1EDD8DA8A242}" type="parTrans" cxnId="{E798617E-3D87-4848-B355-A9812B3632CD}">
      <dgm:prSet/>
      <dgm:spPr/>
      <dgm:t>
        <a:bodyPr/>
        <a:lstStyle/>
        <a:p>
          <a:endParaRPr lang="en-US">
            <a:latin typeface="Gill Sans"/>
          </a:endParaRPr>
        </a:p>
      </dgm:t>
    </dgm:pt>
    <dgm:pt modelId="{1E8F3A59-BA60-4D17-96E8-F93994E202C8}" type="sibTrans" cxnId="{E798617E-3D87-4848-B355-A9812B3632CD}">
      <dgm:prSet/>
      <dgm:spPr/>
      <dgm:t>
        <a:bodyPr/>
        <a:lstStyle/>
        <a:p>
          <a:endParaRPr lang="en-US">
            <a:latin typeface="Gill Sans"/>
          </a:endParaRPr>
        </a:p>
      </dgm:t>
    </dgm:pt>
    <dgm:pt modelId="{2649CBE0-5489-4B80-BF32-AB2E10C0B099}" type="pres">
      <dgm:prSet presAssocID="{74E6D967-5D9A-4699-9984-C06882FC6689}" presName="Name0" presStyleCnt="0">
        <dgm:presLayoutVars>
          <dgm:dir/>
          <dgm:animLvl val="lvl"/>
          <dgm:resizeHandles val="exact"/>
        </dgm:presLayoutVars>
      </dgm:prSet>
      <dgm:spPr/>
    </dgm:pt>
    <dgm:pt modelId="{74F07D68-56AD-4C76-8591-2B855EAFB397}" type="pres">
      <dgm:prSet presAssocID="{13A87313-E30F-44B6-9D55-7EDBB0FE834D}" presName="composite" presStyleCnt="0"/>
      <dgm:spPr/>
    </dgm:pt>
    <dgm:pt modelId="{EEBD0131-04CB-44E9-8886-39D431D964CE}" type="pres">
      <dgm:prSet presAssocID="{13A87313-E30F-44B6-9D55-7EDBB0FE834D}" presName="parTx" presStyleLbl="alignNode1" presStyleIdx="0" presStyleCnt="5">
        <dgm:presLayoutVars>
          <dgm:chMax val="0"/>
          <dgm:chPref val="0"/>
          <dgm:bulletEnabled val="1"/>
        </dgm:presLayoutVars>
      </dgm:prSet>
      <dgm:spPr/>
    </dgm:pt>
    <dgm:pt modelId="{23E8114A-1667-4C26-9B6A-83E6BDE0463C}" type="pres">
      <dgm:prSet presAssocID="{13A87313-E30F-44B6-9D55-7EDBB0FE834D}" presName="desTx" presStyleLbl="alignAccFollowNode1" presStyleIdx="0" presStyleCnt="5">
        <dgm:presLayoutVars>
          <dgm:bulletEnabled val="1"/>
        </dgm:presLayoutVars>
      </dgm:prSet>
      <dgm:spPr/>
    </dgm:pt>
    <dgm:pt modelId="{10F31D8D-C106-44B6-B557-E1C6A1763E06}" type="pres">
      <dgm:prSet presAssocID="{A9381D54-C186-4593-B7DF-477D9FF32F87}" presName="space" presStyleCnt="0"/>
      <dgm:spPr/>
    </dgm:pt>
    <dgm:pt modelId="{1DD9F82D-58BC-402B-AA46-3B3F13163403}" type="pres">
      <dgm:prSet presAssocID="{E6492FC6-1B27-4978-9BEE-79806263EA37}" presName="composite" presStyleCnt="0"/>
      <dgm:spPr/>
    </dgm:pt>
    <dgm:pt modelId="{ADEFC9CC-204D-47BC-9C3D-3EB876AB140C}" type="pres">
      <dgm:prSet presAssocID="{E6492FC6-1B27-4978-9BEE-79806263EA37}" presName="parTx" presStyleLbl="alignNode1" presStyleIdx="1" presStyleCnt="5">
        <dgm:presLayoutVars>
          <dgm:chMax val="0"/>
          <dgm:chPref val="0"/>
          <dgm:bulletEnabled val="1"/>
        </dgm:presLayoutVars>
      </dgm:prSet>
      <dgm:spPr/>
    </dgm:pt>
    <dgm:pt modelId="{ACE4220F-1C46-422C-A89A-367E06E76809}" type="pres">
      <dgm:prSet presAssocID="{E6492FC6-1B27-4978-9BEE-79806263EA37}" presName="desTx" presStyleLbl="alignAccFollowNode1" presStyleIdx="1" presStyleCnt="5">
        <dgm:presLayoutVars>
          <dgm:bulletEnabled val="1"/>
        </dgm:presLayoutVars>
      </dgm:prSet>
      <dgm:spPr/>
    </dgm:pt>
    <dgm:pt modelId="{92E6AF27-33A9-42E0-8C2E-C80678EC21F8}" type="pres">
      <dgm:prSet presAssocID="{ACB98F10-5671-4D3A-AAF7-9B8F91972D0B}" presName="space" presStyleCnt="0"/>
      <dgm:spPr/>
    </dgm:pt>
    <dgm:pt modelId="{3B34DC2A-DE1E-4EE7-9C0D-FE009253027C}" type="pres">
      <dgm:prSet presAssocID="{13D5A083-29D6-4E88-9DBA-AD5D4A1992DB}" presName="composite" presStyleCnt="0"/>
      <dgm:spPr/>
    </dgm:pt>
    <dgm:pt modelId="{8D89D4AE-F838-44EE-89DE-8B3DA444863A}" type="pres">
      <dgm:prSet presAssocID="{13D5A083-29D6-4E88-9DBA-AD5D4A1992DB}" presName="parTx" presStyleLbl="alignNode1" presStyleIdx="2" presStyleCnt="5">
        <dgm:presLayoutVars>
          <dgm:chMax val="0"/>
          <dgm:chPref val="0"/>
          <dgm:bulletEnabled val="1"/>
        </dgm:presLayoutVars>
      </dgm:prSet>
      <dgm:spPr/>
    </dgm:pt>
    <dgm:pt modelId="{F029845E-2C1A-4B54-A2FD-2AD66265914D}" type="pres">
      <dgm:prSet presAssocID="{13D5A083-29D6-4E88-9DBA-AD5D4A1992DB}" presName="desTx" presStyleLbl="alignAccFollowNode1" presStyleIdx="2" presStyleCnt="5">
        <dgm:presLayoutVars>
          <dgm:bulletEnabled val="1"/>
        </dgm:presLayoutVars>
      </dgm:prSet>
      <dgm:spPr/>
    </dgm:pt>
    <dgm:pt modelId="{BFEDB103-FF6D-45E6-8A81-F1E15CA8DAEE}" type="pres">
      <dgm:prSet presAssocID="{A216445D-DC32-403B-AF2F-8A89B55A6BF6}" presName="space" presStyleCnt="0"/>
      <dgm:spPr/>
    </dgm:pt>
    <dgm:pt modelId="{2D932171-EE66-4472-ABBC-C0EF02FDE417}" type="pres">
      <dgm:prSet presAssocID="{1A557F8B-6CD3-40D3-BE19-006A0FBE15B0}" presName="composite" presStyleCnt="0"/>
      <dgm:spPr/>
    </dgm:pt>
    <dgm:pt modelId="{1D302218-1302-447E-BCCC-8FE94D42BA41}" type="pres">
      <dgm:prSet presAssocID="{1A557F8B-6CD3-40D3-BE19-006A0FBE15B0}" presName="parTx" presStyleLbl="alignNode1" presStyleIdx="3" presStyleCnt="5">
        <dgm:presLayoutVars>
          <dgm:chMax val="0"/>
          <dgm:chPref val="0"/>
          <dgm:bulletEnabled val="1"/>
        </dgm:presLayoutVars>
      </dgm:prSet>
      <dgm:spPr/>
    </dgm:pt>
    <dgm:pt modelId="{50581E1A-888F-4EF0-BC8B-30A18FE244CB}" type="pres">
      <dgm:prSet presAssocID="{1A557F8B-6CD3-40D3-BE19-006A0FBE15B0}" presName="desTx" presStyleLbl="alignAccFollowNode1" presStyleIdx="3" presStyleCnt="5">
        <dgm:presLayoutVars>
          <dgm:bulletEnabled val="1"/>
        </dgm:presLayoutVars>
      </dgm:prSet>
      <dgm:spPr/>
    </dgm:pt>
    <dgm:pt modelId="{5F2EE507-7A9A-4A3A-B731-24546D7EDDC6}" type="pres">
      <dgm:prSet presAssocID="{C61A8D77-7639-4147-A4D7-4663BB782B36}" presName="space" presStyleCnt="0"/>
      <dgm:spPr/>
    </dgm:pt>
    <dgm:pt modelId="{C6D55828-D896-4261-8E6D-FB53B87C3070}" type="pres">
      <dgm:prSet presAssocID="{C3DCD881-87D4-47AE-959C-A243996DABCB}" presName="composite" presStyleCnt="0"/>
      <dgm:spPr/>
    </dgm:pt>
    <dgm:pt modelId="{EFF936C0-009D-4698-AD85-2FEA71802F59}" type="pres">
      <dgm:prSet presAssocID="{C3DCD881-87D4-47AE-959C-A243996DABCB}" presName="parTx" presStyleLbl="alignNode1" presStyleIdx="4" presStyleCnt="5">
        <dgm:presLayoutVars>
          <dgm:chMax val="0"/>
          <dgm:chPref val="0"/>
          <dgm:bulletEnabled val="1"/>
        </dgm:presLayoutVars>
      </dgm:prSet>
      <dgm:spPr/>
    </dgm:pt>
    <dgm:pt modelId="{C2C88364-D0BE-479C-8B8C-7DACE45C360C}" type="pres">
      <dgm:prSet presAssocID="{C3DCD881-87D4-47AE-959C-A243996DABCB}" presName="desTx" presStyleLbl="alignAccFollowNode1" presStyleIdx="4" presStyleCnt="5">
        <dgm:presLayoutVars>
          <dgm:bulletEnabled val="1"/>
        </dgm:presLayoutVars>
      </dgm:prSet>
      <dgm:spPr/>
    </dgm:pt>
  </dgm:ptLst>
  <dgm:cxnLst>
    <dgm:cxn modelId="{5C3CD309-A4C4-4650-8730-040681B11B91}" srcId="{1A557F8B-6CD3-40D3-BE19-006A0FBE15B0}" destId="{0B0DDBB8-B2F6-43BD-917E-6FFEB25BA2DA}" srcOrd="5" destOrd="0" parTransId="{13FB7044-5B39-4397-A823-62402CA84A95}" sibTransId="{10B2FD02-E004-4C50-94B9-424CB5E6C615}"/>
    <dgm:cxn modelId="{6A0A9511-0A90-4B07-B25B-A44DCE82D787}" type="presOf" srcId="{E6492FC6-1B27-4978-9BEE-79806263EA37}" destId="{ADEFC9CC-204D-47BC-9C3D-3EB876AB140C}" srcOrd="0" destOrd="0" presId="urn:microsoft.com/office/officeart/2005/8/layout/hList1"/>
    <dgm:cxn modelId="{B827D114-7B4F-42D7-9B2D-BB06F8FD4302}" type="presOf" srcId="{F31ECD12-03AD-4BFA-84C8-80EA3F275F8F}" destId="{C2C88364-D0BE-479C-8B8C-7DACE45C360C}" srcOrd="0" destOrd="0" presId="urn:microsoft.com/office/officeart/2005/8/layout/hList1"/>
    <dgm:cxn modelId="{71D6E316-0D9C-4C9F-8976-DE7ABAFB837A}" type="presOf" srcId="{C3DCD881-87D4-47AE-959C-A243996DABCB}" destId="{EFF936C0-009D-4698-AD85-2FEA71802F59}" srcOrd="0" destOrd="0" presId="urn:microsoft.com/office/officeart/2005/8/layout/hList1"/>
    <dgm:cxn modelId="{A08CC219-6BE1-4EEF-AC1D-4150DDB23302}" type="presOf" srcId="{13A87313-E30F-44B6-9D55-7EDBB0FE834D}" destId="{EEBD0131-04CB-44E9-8886-39D431D964CE}" srcOrd="0" destOrd="0" presId="urn:microsoft.com/office/officeart/2005/8/layout/hList1"/>
    <dgm:cxn modelId="{767A191D-8CF2-475D-9CE2-37EB72D0DA28}" type="presOf" srcId="{26A4243B-E386-40F9-9FB4-46A0CCF44EBE}" destId="{23E8114A-1667-4C26-9B6A-83E6BDE0463C}" srcOrd="0" destOrd="0" presId="urn:microsoft.com/office/officeart/2005/8/layout/hList1"/>
    <dgm:cxn modelId="{4A5FEB1E-5E91-4FBF-BD18-9B95BDED1843}" type="presOf" srcId="{7D1EF881-5350-4E4B-B33F-3D21242A1865}" destId="{23E8114A-1667-4C26-9B6A-83E6BDE0463C}" srcOrd="0" destOrd="1" presId="urn:microsoft.com/office/officeart/2005/8/layout/hList1"/>
    <dgm:cxn modelId="{756D8E25-FE21-4A42-A7D6-CB827715E81B}" srcId="{74E6D967-5D9A-4699-9984-C06882FC6689}" destId="{1A557F8B-6CD3-40D3-BE19-006A0FBE15B0}" srcOrd="3" destOrd="0" parTransId="{BCE5D4F9-F127-4003-B17B-0CEB8B84197F}" sibTransId="{C61A8D77-7639-4147-A4D7-4663BB782B36}"/>
    <dgm:cxn modelId="{9D5A9A29-8B4E-43B6-A017-FD4BB0E64FAE}" srcId="{13D5A083-29D6-4E88-9DBA-AD5D4A1992DB}" destId="{263424EA-1C2F-40A0-80F6-C93871EF797B}" srcOrd="0" destOrd="0" parTransId="{275B68D4-383A-41F5-8C84-102243AA04F9}" sibTransId="{603CEE24-0A7F-4A83-B628-09EE10083EAA}"/>
    <dgm:cxn modelId="{FCA34A2E-C6E2-4D64-98E1-39321BF1CCC8}" type="presOf" srcId="{AA936811-2213-4A5C-BE08-F7442FFC1A55}" destId="{50581E1A-888F-4EF0-BC8B-30A18FE244CB}" srcOrd="0" destOrd="2" presId="urn:microsoft.com/office/officeart/2005/8/layout/hList1"/>
    <dgm:cxn modelId="{91C32260-6120-4014-B16C-79E2D15A3D2B}" srcId="{13D5A083-29D6-4E88-9DBA-AD5D4A1992DB}" destId="{5C35C210-992F-405B-9648-8AC013ACF150}" srcOrd="2" destOrd="0" parTransId="{CF477F21-F450-4D16-803D-8289BD197DFF}" sibTransId="{C72F4FA8-8E1F-47AB-90D8-E8BA679647F3}"/>
    <dgm:cxn modelId="{75385F61-1726-4E2D-B2BC-E36423792BDF}" type="presOf" srcId="{38AE5FC3-B820-4F81-BA44-E39E31FFDAD5}" destId="{F029845E-2C1A-4B54-A2FD-2AD66265914D}" srcOrd="0" destOrd="1" presId="urn:microsoft.com/office/officeart/2005/8/layout/hList1"/>
    <dgm:cxn modelId="{19456143-E238-41AA-B0FF-81BCE1172F5A}" type="presOf" srcId="{A1EB19F9-104F-4A2E-9FA3-79AE1892281D}" destId="{ACE4220F-1C46-422C-A89A-367E06E76809}" srcOrd="0" destOrd="0" presId="urn:microsoft.com/office/officeart/2005/8/layout/hList1"/>
    <dgm:cxn modelId="{622BA844-5EBE-45B0-9241-3C2AF2D271B7}" srcId="{74E6D967-5D9A-4699-9984-C06882FC6689}" destId="{13A87313-E30F-44B6-9D55-7EDBB0FE834D}" srcOrd="0" destOrd="0" parTransId="{FAF06A21-5849-435D-942E-E94A8027BC34}" sibTransId="{A9381D54-C186-4593-B7DF-477D9FF32F87}"/>
    <dgm:cxn modelId="{DF12D165-53BA-453B-897F-FD9A34752FAB}" srcId="{74E6D967-5D9A-4699-9984-C06882FC6689}" destId="{13D5A083-29D6-4E88-9DBA-AD5D4A1992DB}" srcOrd="2" destOrd="0" parTransId="{06288ED0-39BF-4266-B424-7E131AABCBF2}" sibTransId="{A216445D-DC32-403B-AF2F-8A89B55A6BF6}"/>
    <dgm:cxn modelId="{C9C79967-4A61-49BB-9B15-046599BB6C4F}" type="presOf" srcId="{107D754C-B868-4542-8801-B4FE98FDEF86}" destId="{50581E1A-888F-4EF0-BC8B-30A18FE244CB}" srcOrd="0" destOrd="1" presId="urn:microsoft.com/office/officeart/2005/8/layout/hList1"/>
    <dgm:cxn modelId="{D0326848-60E3-4300-BDD5-39EB019A3D3D}" type="presOf" srcId="{0B0DDBB8-B2F6-43BD-917E-6FFEB25BA2DA}" destId="{50581E1A-888F-4EF0-BC8B-30A18FE244CB}" srcOrd="0" destOrd="5" presId="urn:microsoft.com/office/officeart/2005/8/layout/hList1"/>
    <dgm:cxn modelId="{688C9D50-C742-4A27-945A-CE40A26DAA51}" srcId="{13A87313-E30F-44B6-9D55-7EDBB0FE834D}" destId="{7D1EF881-5350-4E4B-B33F-3D21242A1865}" srcOrd="1" destOrd="0" parTransId="{8958BFEA-09C8-49BD-8A42-4BD5695AE09B}" sibTransId="{E379B88A-744F-4CFF-859C-069A78696CB4}"/>
    <dgm:cxn modelId="{D7186751-A3AB-4857-B331-52BA7F55B56B}" srcId="{C3DCD881-87D4-47AE-959C-A243996DABCB}" destId="{F31ECD12-03AD-4BFA-84C8-80EA3F275F8F}" srcOrd="0" destOrd="0" parTransId="{06906A13-A9B5-4609-854F-8E332BB2FA50}" sibTransId="{40BA1084-C3D5-4E93-B075-C390A8856ADD}"/>
    <dgm:cxn modelId="{79BDD075-7C1F-4A37-AAB8-9DD3B7C672B6}" srcId="{13D5A083-29D6-4E88-9DBA-AD5D4A1992DB}" destId="{DEDDB031-F06A-447E-B512-6BCA7494599B}" srcOrd="3" destOrd="0" parTransId="{22FCA8BB-8126-4693-AAB0-AB788B6412F2}" sibTransId="{643F418E-D2C0-4CAD-A24D-084B9FCD1C9B}"/>
    <dgm:cxn modelId="{21773D57-1A89-46C2-8765-0FA5A0A68C41}" srcId="{C3DCD881-87D4-47AE-959C-A243996DABCB}" destId="{E474E503-BB43-4419-BB46-3404440E0E4F}" srcOrd="2" destOrd="0" parTransId="{907AA246-8098-4CEF-B52F-90872664523A}" sibTransId="{A856352A-0445-49D2-B016-AFDD7A3D2644}"/>
    <dgm:cxn modelId="{943BA47D-73C6-4B11-8D77-95C160600842}" type="presOf" srcId="{1A557F8B-6CD3-40D3-BE19-006A0FBE15B0}" destId="{1D302218-1302-447E-BCCC-8FE94D42BA41}" srcOrd="0" destOrd="0" presId="urn:microsoft.com/office/officeart/2005/8/layout/hList1"/>
    <dgm:cxn modelId="{E798617E-3D87-4848-B355-A9812B3632CD}" srcId="{1A557F8B-6CD3-40D3-BE19-006A0FBE15B0}" destId="{11DC68D9-6B30-4EC3-86BA-D59477446E09}" srcOrd="4" destOrd="0" parTransId="{9711E1DA-95C3-4EE0-9B12-1EDD8DA8A242}" sibTransId="{1E8F3A59-BA60-4D17-96E8-F93994E202C8}"/>
    <dgm:cxn modelId="{C4E90C83-26CC-466B-8416-4713C5984FE1}" type="presOf" srcId="{263424EA-1C2F-40A0-80F6-C93871EF797B}" destId="{F029845E-2C1A-4B54-A2FD-2AD66265914D}" srcOrd="0" destOrd="0" presId="urn:microsoft.com/office/officeart/2005/8/layout/hList1"/>
    <dgm:cxn modelId="{C968BF88-0124-4EC5-B100-B088CC8B9D3A}" type="presOf" srcId="{A5BC224A-83D7-4781-A72C-6978671C5326}" destId="{50581E1A-888F-4EF0-BC8B-30A18FE244CB}" srcOrd="0" destOrd="0" presId="urn:microsoft.com/office/officeart/2005/8/layout/hList1"/>
    <dgm:cxn modelId="{B21D3B98-AA82-44E2-BDE4-A8F0A1A0EF54}" type="presOf" srcId="{E474E503-BB43-4419-BB46-3404440E0E4F}" destId="{C2C88364-D0BE-479C-8B8C-7DACE45C360C}" srcOrd="0" destOrd="2" presId="urn:microsoft.com/office/officeart/2005/8/layout/hList1"/>
    <dgm:cxn modelId="{0351339B-A0AE-4D3C-9AF5-50325A572189}" type="presOf" srcId="{74E6D967-5D9A-4699-9984-C06882FC6689}" destId="{2649CBE0-5489-4B80-BF32-AB2E10C0B099}" srcOrd="0" destOrd="0" presId="urn:microsoft.com/office/officeart/2005/8/layout/hList1"/>
    <dgm:cxn modelId="{289A9B9F-AD07-4BC9-AB5A-2AE9857CFAC7}" type="presOf" srcId="{DEDDB031-F06A-447E-B512-6BCA7494599B}" destId="{F029845E-2C1A-4B54-A2FD-2AD66265914D}" srcOrd="0" destOrd="3" presId="urn:microsoft.com/office/officeart/2005/8/layout/hList1"/>
    <dgm:cxn modelId="{CD9612A8-AC93-4BB0-ADF0-89E0C531B299}" type="presOf" srcId="{11DC68D9-6B30-4EC3-86BA-D59477446E09}" destId="{50581E1A-888F-4EF0-BC8B-30A18FE244CB}" srcOrd="0" destOrd="4" presId="urn:microsoft.com/office/officeart/2005/8/layout/hList1"/>
    <dgm:cxn modelId="{B30E12AE-E049-4D0B-8F05-37AD6B9E8594}" srcId="{1A557F8B-6CD3-40D3-BE19-006A0FBE15B0}" destId="{A5BC224A-83D7-4781-A72C-6978671C5326}" srcOrd="0" destOrd="0" parTransId="{ABFEC2AD-BFC3-43AD-AA48-A66D0746B36A}" sibTransId="{75B4D7BE-EA6A-411A-ABBA-DA7D50AA3FBC}"/>
    <dgm:cxn modelId="{0F55B9BB-790F-4189-8E86-FF20699878C7}" srcId="{E6492FC6-1B27-4978-9BEE-79806263EA37}" destId="{A1EB19F9-104F-4A2E-9FA3-79AE1892281D}" srcOrd="0" destOrd="0" parTransId="{D2C54160-845A-4505-96A2-7F35228B0C9B}" sibTransId="{7E99DA09-DA72-478D-9A9F-B3513996D82F}"/>
    <dgm:cxn modelId="{31A684BD-1DE6-4B45-B741-992B8AC8D755}" srcId="{C3DCD881-87D4-47AE-959C-A243996DABCB}" destId="{2024466F-E4C2-4797-A167-9842BB5A0E29}" srcOrd="1" destOrd="0" parTransId="{E0BB5292-E3A9-4F1C-89B7-8F46F306B4E5}" sibTransId="{9F7E4859-D0E5-4680-BED5-FC1B36BEE008}"/>
    <dgm:cxn modelId="{358EDFC8-1838-4682-8031-2F8BEABC3330}" type="presOf" srcId="{5C35C210-992F-405B-9648-8AC013ACF150}" destId="{F029845E-2C1A-4B54-A2FD-2AD66265914D}" srcOrd="0" destOrd="2" presId="urn:microsoft.com/office/officeart/2005/8/layout/hList1"/>
    <dgm:cxn modelId="{A8332ED8-B416-44CC-81E1-BEC865E3681D}" srcId="{74E6D967-5D9A-4699-9984-C06882FC6689}" destId="{C3DCD881-87D4-47AE-959C-A243996DABCB}" srcOrd="4" destOrd="0" parTransId="{A34A6B63-8057-4CE9-8107-159FD20F66B9}" sibTransId="{F400D00E-753F-4DD0-925B-1E2538666F26}"/>
    <dgm:cxn modelId="{4BF35BE5-18BF-4ECF-98B3-E27D40EED199}" srcId="{1A557F8B-6CD3-40D3-BE19-006A0FBE15B0}" destId="{107D754C-B868-4542-8801-B4FE98FDEF86}" srcOrd="1" destOrd="0" parTransId="{038C9FDC-19D7-4B87-A353-ED39AA3B5ADE}" sibTransId="{7F15BC94-8FCB-4C7A-A9DC-D450FCB161FE}"/>
    <dgm:cxn modelId="{4E9D20E8-5E23-4E83-B154-C3D67C376E89}" srcId="{1A557F8B-6CD3-40D3-BE19-006A0FBE15B0}" destId="{AA936811-2213-4A5C-BE08-F7442FFC1A55}" srcOrd="2" destOrd="0" parTransId="{7283D01E-C32D-428E-A5F7-2D9F683AD3E6}" sibTransId="{7F7E211C-FDD3-490F-B1DF-79FC405A9FDF}"/>
    <dgm:cxn modelId="{43E02AEC-F0DE-4A28-9297-6CE425AB6743}" type="presOf" srcId="{13D5A083-29D6-4E88-9DBA-AD5D4A1992DB}" destId="{8D89D4AE-F838-44EE-89DE-8B3DA444863A}" srcOrd="0" destOrd="0" presId="urn:microsoft.com/office/officeart/2005/8/layout/hList1"/>
    <dgm:cxn modelId="{9C0A67F1-51AD-46B9-976F-0EC4EF5D73E5}" srcId="{74E6D967-5D9A-4699-9984-C06882FC6689}" destId="{E6492FC6-1B27-4978-9BEE-79806263EA37}" srcOrd="1" destOrd="0" parTransId="{CB319F1F-0CC3-4683-A98E-ADCE08751EAB}" sibTransId="{ACB98F10-5671-4D3A-AAF7-9B8F91972D0B}"/>
    <dgm:cxn modelId="{1F9A0FF4-E464-46FE-BCD4-77560B3FED4A}" srcId="{13D5A083-29D6-4E88-9DBA-AD5D4A1992DB}" destId="{38AE5FC3-B820-4F81-BA44-E39E31FFDAD5}" srcOrd="1" destOrd="0" parTransId="{BCFCA406-712A-419E-BFEC-5DE9D5317ED0}" sibTransId="{E60AC101-07F3-4720-856C-CFF304587AE5}"/>
    <dgm:cxn modelId="{3C07C8F4-25C0-47F4-95B8-DBD3D96CB445}" srcId="{13A87313-E30F-44B6-9D55-7EDBB0FE834D}" destId="{26A4243B-E386-40F9-9FB4-46A0CCF44EBE}" srcOrd="0" destOrd="0" parTransId="{EEC23CB5-314F-4DE7-8F62-99459CC70685}" sibTransId="{551718AE-F293-45C5-BF30-138E5FDA41C3}"/>
    <dgm:cxn modelId="{0401ACF5-7672-4B87-9349-62A40C099F81}" srcId="{1A557F8B-6CD3-40D3-BE19-006A0FBE15B0}" destId="{39425F0D-1773-4E34-9A86-4DABB81D52F8}" srcOrd="3" destOrd="0" parTransId="{DA11CA5B-2B5E-4573-8632-99C18D80CAFB}" sibTransId="{CAE0DD3D-3544-468C-BA22-1D97B80BBC39}"/>
    <dgm:cxn modelId="{9D3F07FF-19F7-441C-94EA-9A4DCDB09970}" type="presOf" srcId="{39425F0D-1773-4E34-9A86-4DABB81D52F8}" destId="{50581E1A-888F-4EF0-BC8B-30A18FE244CB}" srcOrd="0" destOrd="3" presId="urn:microsoft.com/office/officeart/2005/8/layout/hList1"/>
    <dgm:cxn modelId="{AA5769FF-E4CF-419F-894C-FCDFEDAD5306}" type="presOf" srcId="{2024466F-E4C2-4797-A167-9842BB5A0E29}" destId="{C2C88364-D0BE-479C-8B8C-7DACE45C360C}" srcOrd="0" destOrd="1" presId="urn:microsoft.com/office/officeart/2005/8/layout/hList1"/>
    <dgm:cxn modelId="{7E1E0254-F9DB-4B41-8D74-A424FF34049C}" type="presParOf" srcId="{2649CBE0-5489-4B80-BF32-AB2E10C0B099}" destId="{74F07D68-56AD-4C76-8591-2B855EAFB397}" srcOrd="0" destOrd="0" presId="urn:microsoft.com/office/officeart/2005/8/layout/hList1"/>
    <dgm:cxn modelId="{51BCD494-46A6-4AE5-B808-CC0E957F6C97}" type="presParOf" srcId="{74F07D68-56AD-4C76-8591-2B855EAFB397}" destId="{EEBD0131-04CB-44E9-8886-39D431D964CE}" srcOrd="0" destOrd="0" presId="urn:microsoft.com/office/officeart/2005/8/layout/hList1"/>
    <dgm:cxn modelId="{07318B34-9C60-499D-A454-E0471B7BB0F1}" type="presParOf" srcId="{74F07D68-56AD-4C76-8591-2B855EAFB397}" destId="{23E8114A-1667-4C26-9B6A-83E6BDE0463C}" srcOrd="1" destOrd="0" presId="urn:microsoft.com/office/officeart/2005/8/layout/hList1"/>
    <dgm:cxn modelId="{6FCF5F0B-89E5-4547-A461-4940BBCC0E2B}" type="presParOf" srcId="{2649CBE0-5489-4B80-BF32-AB2E10C0B099}" destId="{10F31D8D-C106-44B6-B557-E1C6A1763E06}" srcOrd="1" destOrd="0" presId="urn:microsoft.com/office/officeart/2005/8/layout/hList1"/>
    <dgm:cxn modelId="{B9053800-2E6B-406B-813C-5A6292856CB7}" type="presParOf" srcId="{2649CBE0-5489-4B80-BF32-AB2E10C0B099}" destId="{1DD9F82D-58BC-402B-AA46-3B3F13163403}" srcOrd="2" destOrd="0" presId="urn:microsoft.com/office/officeart/2005/8/layout/hList1"/>
    <dgm:cxn modelId="{57DC8303-0D37-485E-BF12-68A2D337E660}" type="presParOf" srcId="{1DD9F82D-58BC-402B-AA46-3B3F13163403}" destId="{ADEFC9CC-204D-47BC-9C3D-3EB876AB140C}" srcOrd="0" destOrd="0" presId="urn:microsoft.com/office/officeart/2005/8/layout/hList1"/>
    <dgm:cxn modelId="{01B1BCCD-25C1-4CE8-A1BB-EB61294082F0}" type="presParOf" srcId="{1DD9F82D-58BC-402B-AA46-3B3F13163403}" destId="{ACE4220F-1C46-422C-A89A-367E06E76809}" srcOrd="1" destOrd="0" presId="urn:microsoft.com/office/officeart/2005/8/layout/hList1"/>
    <dgm:cxn modelId="{5B3FC0F0-D319-4272-BA84-BA0906FE0AE1}" type="presParOf" srcId="{2649CBE0-5489-4B80-BF32-AB2E10C0B099}" destId="{92E6AF27-33A9-42E0-8C2E-C80678EC21F8}" srcOrd="3" destOrd="0" presId="urn:microsoft.com/office/officeart/2005/8/layout/hList1"/>
    <dgm:cxn modelId="{E4C9B8CA-B715-4D7E-8B06-D5BF723C9FDC}" type="presParOf" srcId="{2649CBE0-5489-4B80-BF32-AB2E10C0B099}" destId="{3B34DC2A-DE1E-4EE7-9C0D-FE009253027C}" srcOrd="4" destOrd="0" presId="urn:microsoft.com/office/officeart/2005/8/layout/hList1"/>
    <dgm:cxn modelId="{97EB454B-7D62-42D8-B7FC-09104B8D636D}" type="presParOf" srcId="{3B34DC2A-DE1E-4EE7-9C0D-FE009253027C}" destId="{8D89D4AE-F838-44EE-89DE-8B3DA444863A}" srcOrd="0" destOrd="0" presId="urn:microsoft.com/office/officeart/2005/8/layout/hList1"/>
    <dgm:cxn modelId="{36CCBEB2-B1F0-4C08-86BE-B65C0C036D45}" type="presParOf" srcId="{3B34DC2A-DE1E-4EE7-9C0D-FE009253027C}" destId="{F029845E-2C1A-4B54-A2FD-2AD66265914D}" srcOrd="1" destOrd="0" presId="urn:microsoft.com/office/officeart/2005/8/layout/hList1"/>
    <dgm:cxn modelId="{78CC3543-1E41-4E96-AE52-FC7EEC171E28}" type="presParOf" srcId="{2649CBE0-5489-4B80-BF32-AB2E10C0B099}" destId="{BFEDB103-FF6D-45E6-8A81-F1E15CA8DAEE}" srcOrd="5" destOrd="0" presId="urn:microsoft.com/office/officeart/2005/8/layout/hList1"/>
    <dgm:cxn modelId="{43C8D400-7EF6-441E-866E-D9A55A9DB60C}" type="presParOf" srcId="{2649CBE0-5489-4B80-BF32-AB2E10C0B099}" destId="{2D932171-EE66-4472-ABBC-C0EF02FDE417}" srcOrd="6" destOrd="0" presId="urn:microsoft.com/office/officeart/2005/8/layout/hList1"/>
    <dgm:cxn modelId="{A32533B0-B400-40DE-90FC-FC1F1ED4F8CC}" type="presParOf" srcId="{2D932171-EE66-4472-ABBC-C0EF02FDE417}" destId="{1D302218-1302-447E-BCCC-8FE94D42BA41}" srcOrd="0" destOrd="0" presId="urn:microsoft.com/office/officeart/2005/8/layout/hList1"/>
    <dgm:cxn modelId="{D90D910A-3D15-455B-943A-27EB46486D52}" type="presParOf" srcId="{2D932171-EE66-4472-ABBC-C0EF02FDE417}" destId="{50581E1A-888F-4EF0-BC8B-30A18FE244CB}" srcOrd="1" destOrd="0" presId="urn:microsoft.com/office/officeart/2005/8/layout/hList1"/>
    <dgm:cxn modelId="{DD49EF3C-ED69-4B86-8F10-067BFE8496C2}" type="presParOf" srcId="{2649CBE0-5489-4B80-BF32-AB2E10C0B099}" destId="{5F2EE507-7A9A-4A3A-B731-24546D7EDDC6}" srcOrd="7" destOrd="0" presId="urn:microsoft.com/office/officeart/2005/8/layout/hList1"/>
    <dgm:cxn modelId="{98624BE4-BDA6-40F4-9F9C-252E0F79568A}" type="presParOf" srcId="{2649CBE0-5489-4B80-BF32-AB2E10C0B099}" destId="{C6D55828-D896-4261-8E6D-FB53B87C3070}" srcOrd="8" destOrd="0" presId="urn:microsoft.com/office/officeart/2005/8/layout/hList1"/>
    <dgm:cxn modelId="{2D64E260-5B88-4C53-BA18-8F5458F41CCF}" type="presParOf" srcId="{C6D55828-D896-4261-8E6D-FB53B87C3070}" destId="{EFF936C0-009D-4698-AD85-2FEA71802F59}" srcOrd="0" destOrd="0" presId="urn:microsoft.com/office/officeart/2005/8/layout/hList1"/>
    <dgm:cxn modelId="{8E808063-AB74-4013-9F8C-7820C1A0CB36}" type="presParOf" srcId="{C6D55828-D896-4261-8E6D-FB53B87C3070}" destId="{C2C88364-D0BE-479C-8B8C-7DACE45C360C}" srcOrd="1" destOrd="0" presId="urn:microsoft.com/office/officeart/2005/8/layout/hList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8323DE8-BAE8-4005-AB1A-13BAE7752796}" type="doc">
      <dgm:prSet loTypeId="urn:microsoft.com/office/officeart/2005/8/layout/hierarchy5" loCatId="hierarchy" qsTypeId="urn:microsoft.com/office/officeart/2005/8/quickstyle/simple2" qsCatId="simple" csTypeId="urn:microsoft.com/office/officeart/2005/8/colors/accent3_1" csCatId="accent3" phldr="1"/>
      <dgm:spPr/>
      <dgm:t>
        <a:bodyPr/>
        <a:lstStyle/>
        <a:p>
          <a:endParaRPr lang="en-US"/>
        </a:p>
      </dgm:t>
    </dgm:pt>
    <dgm:pt modelId="{7AC11EAB-1257-462E-9015-B8DBA4A3FF90}">
      <dgm:prSet phldrT="[Text]"/>
      <dgm:spPr/>
      <dgm:t>
        <a:bodyPr/>
        <a:lstStyle/>
        <a:p>
          <a:pPr algn="ctr"/>
          <a:r>
            <a:rPr lang="en-US" dirty="0">
              <a:latin typeface="Gill Sans"/>
              <a:ea typeface="Cambria" panose="02040503050406030204" pitchFamily="18" charset="0"/>
            </a:rPr>
            <a:t>Person was marked “uncertain” in the renewal tool</a:t>
          </a:r>
        </a:p>
      </dgm:t>
    </dgm:pt>
    <dgm:pt modelId="{E5448F77-6948-45AC-97CB-26AEBD1D2C84}" type="parTrans" cxnId="{374D5416-9361-4155-BADF-C7BFCACDEE39}">
      <dgm:prSet/>
      <dgm:spPr/>
      <dgm:t>
        <a:bodyPr/>
        <a:lstStyle/>
        <a:p>
          <a:pPr algn="ctr"/>
          <a:endParaRPr lang="en-US">
            <a:latin typeface="Gill Sans"/>
            <a:ea typeface="Cambria" panose="02040503050406030204" pitchFamily="18" charset="0"/>
          </a:endParaRPr>
        </a:p>
      </dgm:t>
    </dgm:pt>
    <dgm:pt modelId="{F7E10E68-3978-4E55-ADEC-36BD5923865B}" type="sibTrans" cxnId="{374D5416-9361-4155-BADF-C7BFCACDEE39}">
      <dgm:prSet/>
      <dgm:spPr/>
      <dgm:t>
        <a:bodyPr/>
        <a:lstStyle/>
        <a:p>
          <a:pPr algn="ctr"/>
          <a:endParaRPr lang="en-US">
            <a:latin typeface="Gill Sans"/>
            <a:ea typeface="Cambria" panose="02040503050406030204" pitchFamily="18" charset="0"/>
          </a:endParaRPr>
        </a:p>
      </dgm:t>
    </dgm:pt>
    <dgm:pt modelId="{EB9C4350-9E55-4932-B210-FF302FE0B72C}">
      <dgm:prSet/>
      <dgm:spPr/>
      <dgm:t>
        <a:bodyPr/>
        <a:lstStyle/>
        <a:p>
          <a:pPr algn="ctr"/>
          <a:r>
            <a:rPr lang="en-US" dirty="0">
              <a:latin typeface="Gill Sans"/>
              <a:ea typeface="Cambria" panose="02040503050406030204" pitchFamily="18" charset="0"/>
            </a:rPr>
            <a:t>HRSP continues follow-up with the department</a:t>
          </a:r>
        </a:p>
      </dgm:t>
    </dgm:pt>
    <dgm:pt modelId="{B327893D-16AB-49CF-93BB-66DBEB59C69B}" type="parTrans" cxnId="{E165AF8A-80F8-4079-B29D-2EE8552A8712}">
      <dgm:prSet/>
      <dgm:spPr/>
      <dgm:t>
        <a:bodyPr/>
        <a:lstStyle/>
        <a:p>
          <a:pPr algn="ctr"/>
          <a:endParaRPr lang="en-US" dirty="0">
            <a:latin typeface="Gill Sans"/>
            <a:ea typeface="Cambria" panose="02040503050406030204" pitchFamily="18" charset="0"/>
          </a:endParaRPr>
        </a:p>
      </dgm:t>
    </dgm:pt>
    <dgm:pt modelId="{F5326A35-3DBE-451D-8C8F-F8BE348A7FA6}" type="sibTrans" cxnId="{E165AF8A-80F8-4079-B29D-2EE8552A8712}">
      <dgm:prSet/>
      <dgm:spPr/>
      <dgm:t>
        <a:bodyPr/>
        <a:lstStyle/>
        <a:p>
          <a:pPr algn="ctr"/>
          <a:endParaRPr lang="en-US">
            <a:latin typeface="Gill Sans"/>
            <a:ea typeface="Cambria" panose="02040503050406030204" pitchFamily="18" charset="0"/>
          </a:endParaRPr>
        </a:p>
      </dgm:t>
    </dgm:pt>
    <dgm:pt modelId="{126566C1-075B-46FB-8413-EBD8A4F23E50}">
      <dgm:prSet/>
      <dgm:spPr/>
      <dgm:t>
        <a:bodyPr/>
        <a:lstStyle/>
        <a:p>
          <a:pPr algn="ctr"/>
          <a:r>
            <a:rPr lang="en-US" dirty="0">
              <a:latin typeface="Gill Sans"/>
              <a:ea typeface="Cambria" panose="02040503050406030204" pitchFamily="18" charset="0"/>
            </a:rPr>
            <a:t>Decision</a:t>
          </a:r>
        </a:p>
      </dgm:t>
    </dgm:pt>
    <dgm:pt modelId="{C12100D8-49F7-4181-B4F3-80624B775EB3}" type="parTrans" cxnId="{D67CFF52-F8A6-4BEF-A4AD-C33271625B2C}">
      <dgm:prSet/>
      <dgm:spPr/>
      <dgm:t>
        <a:bodyPr/>
        <a:lstStyle/>
        <a:p>
          <a:pPr algn="ctr"/>
          <a:endParaRPr lang="en-US" dirty="0">
            <a:latin typeface="Gill Sans"/>
            <a:ea typeface="Cambria" panose="02040503050406030204" pitchFamily="18" charset="0"/>
          </a:endParaRPr>
        </a:p>
      </dgm:t>
    </dgm:pt>
    <dgm:pt modelId="{52243A3A-C5DB-487C-AAE2-FE085405E946}" type="sibTrans" cxnId="{D67CFF52-F8A6-4BEF-A4AD-C33271625B2C}">
      <dgm:prSet/>
      <dgm:spPr/>
      <dgm:t>
        <a:bodyPr/>
        <a:lstStyle/>
        <a:p>
          <a:pPr algn="ctr"/>
          <a:endParaRPr lang="en-US">
            <a:latin typeface="Gill Sans"/>
            <a:ea typeface="Cambria" panose="02040503050406030204" pitchFamily="18" charset="0"/>
          </a:endParaRPr>
        </a:p>
      </dgm:t>
    </dgm:pt>
    <dgm:pt modelId="{F5DC2E77-5A26-42F3-8148-AE9011AC924F}">
      <dgm:prSet/>
      <dgm:spPr/>
      <dgm:t>
        <a:bodyPr/>
        <a:lstStyle/>
        <a:p>
          <a:pPr algn="ctr"/>
          <a:r>
            <a:rPr lang="en-US" dirty="0">
              <a:latin typeface="Gill Sans"/>
              <a:ea typeface="Cambria" panose="02040503050406030204" pitchFamily="18" charset="0"/>
            </a:rPr>
            <a:t>Person added to tracking tool</a:t>
          </a:r>
        </a:p>
      </dgm:t>
    </dgm:pt>
    <dgm:pt modelId="{D863B64D-F4D6-4EB3-BB0D-A97087473AB8}" type="parTrans" cxnId="{0A85B5BC-004E-428E-9BF6-D39CE6A09C44}">
      <dgm:prSet/>
      <dgm:spPr/>
      <dgm:t>
        <a:bodyPr/>
        <a:lstStyle/>
        <a:p>
          <a:pPr algn="ctr"/>
          <a:endParaRPr lang="en-US" dirty="0">
            <a:latin typeface="Gill Sans"/>
            <a:ea typeface="Cambria" panose="02040503050406030204" pitchFamily="18" charset="0"/>
          </a:endParaRPr>
        </a:p>
      </dgm:t>
    </dgm:pt>
    <dgm:pt modelId="{96FD8FE0-201B-441E-B38A-C96E1888E1A8}" type="sibTrans" cxnId="{0A85B5BC-004E-428E-9BF6-D39CE6A09C44}">
      <dgm:prSet/>
      <dgm:spPr/>
      <dgm:t>
        <a:bodyPr/>
        <a:lstStyle/>
        <a:p>
          <a:pPr algn="ctr"/>
          <a:endParaRPr lang="en-US">
            <a:latin typeface="Gill Sans"/>
            <a:ea typeface="Cambria" panose="02040503050406030204" pitchFamily="18" charset="0"/>
          </a:endParaRPr>
        </a:p>
      </dgm:t>
    </dgm:pt>
    <dgm:pt modelId="{ABBB54FB-93E7-4718-8D19-8D8972610B82}">
      <dgm:prSet/>
      <dgm:spPr/>
      <dgm:t>
        <a:bodyPr/>
        <a:lstStyle/>
        <a:p>
          <a:pPr algn="ctr"/>
          <a:r>
            <a:rPr lang="en-US" dirty="0">
              <a:latin typeface="Gill Sans"/>
              <a:ea typeface="Cambria" panose="02040503050406030204" pitchFamily="18" charset="0"/>
            </a:rPr>
            <a:t>Renewal</a:t>
          </a:r>
        </a:p>
      </dgm:t>
    </dgm:pt>
    <dgm:pt modelId="{CD0A8309-F6B0-420E-BE44-E6F9E1E510F0}" type="parTrans" cxnId="{2D3DAD38-6E8E-4DFA-99BE-4CEBBFEE85EA}">
      <dgm:prSet/>
      <dgm:spPr/>
      <dgm:t>
        <a:bodyPr/>
        <a:lstStyle/>
        <a:p>
          <a:pPr algn="ctr"/>
          <a:endParaRPr lang="en-US" dirty="0">
            <a:latin typeface="Gill Sans"/>
            <a:ea typeface="Cambria" panose="02040503050406030204" pitchFamily="18" charset="0"/>
          </a:endParaRPr>
        </a:p>
      </dgm:t>
    </dgm:pt>
    <dgm:pt modelId="{2AF8B6C6-C16F-48B3-9E0C-1CFFB456649E}" type="sibTrans" cxnId="{2D3DAD38-6E8E-4DFA-99BE-4CEBBFEE85EA}">
      <dgm:prSet/>
      <dgm:spPr/>
      <dgm:t>
        <a:bodyPr/>
        <a:lstStyle/>
        <a:p>
          <a:pPr algn="ctr"/>
          <a:endParaRPr lang="en-US">
            <a:latin typeface="Gill Sans"/>
            <a:ea typeface="Cambria" panose="02040503050406030204" pitchFamily="18" charset="0"/>
          </a:endParaRPr>
        </a:p>
      </dgm:t>
    </dgm:pt>
    <dgm:pt modelId="{B58F1DA5-AA73-4681-ACD9-CCDB2F82BCC3}">
      <dgm:prSet/>
      <dgm:spPr/>
      <dgm:t>
        <a:bodyPr/>
        <a:lstStyle/>
        <a:p>
          <a:pPr algn="ctr"/>
          <a:r>
            <a:rPr lang="en-US" dirty="0">
              <a:latin typeface="Gill Sans"/>
              <a:ea typeface="Cambria" panose="02040503050406030204" pitchFamily="18" charset="0"/>
            </a:rPr>
            <a:t>Non-renewal</a:t>
          </a:r>
        </a:p>
      </dgm:t>
    </dgm:pt>
    <dgm:pt modelId="{2E24CA78-5544-4BFB-99D5-449F8A0B4DDC}" type="parTrans" cxnId="{CC77A7F8-E0C2-4E00-9554-968323CD70B4}">
      <dgm:prSet/>
      <dgm:spPr/>
      <dgm:t>
        <a:bodyPr/>
        <a:lstStyle/>
        <a:p>
          <a:pPr algn="ctr"/>
          <a:endParaRPr lang="en-US" dirty="0">
            <a:latin typeface="Gill Sans"/>
            <a:ea typeface="Cambria" panose="02040503050406030204" pitchFamily="18" charset="0"/>
          </a:endParaRPr>
        </a:p>
      </dgm:t>
    </dgm:pt>
    <dgm:pt modelId="{47AD9942-3B55-42C1-A017-ED3EF66558BA}" type="sibTrans" cxnId="{CC77A7F8-E0C2-4E00-9554-968323CD70B4}">
      <dgm:prSet/>
      <dgm:spPr/>
      <dgm:t>
        <a:bodyPr/>
        <a:lstStyle/>
        <a:p>
          <a:pPr algn="ctr"/>
          <a:endParaRPr lang="en-US">
            <a:latin typeface="Gill Sans"/>
            <a:ea typeface="Cambria" panose="02040503050406030204" pitchFamily="18" charset="0"/>
          </a:endParaRPr>
        </a:p>
      </dgm:t>
    </dgm:pt>
    <dgm:pt modelId="{C2140DF1-DE16-4443-936E-143E7F1CC884}">
      <dgm:prSet/>
      <dgm:spPr/>
      <dgm:t>
        <a:bodyPr/>
        <a:lstStyle/>
        <a:p>
          <a:pPr algn="ctr"/>
          <a:r>
            <a:rPr lang="en-US" dirty="0">
              <a:latin typeface="Gill Sans"/>
              <a:ea typeface="Cambria" panose="02040503050406030204" pitchFamily="18" charset="0"/>
            </a:rPr>
            <a:t>HRSP informs the Service Center</a:t>
          </a:r>
        </a:p>
      </dgm:t>
    </dgm:pt>
    <dgm:pt modelId="{E62C4A2B-6A7C-4B82-91BE-A7234E041366}" type="parTrans" cxnId="{E6098146-FF20-44BC-9CA6-B13EDB05DF24}">
      <dgm:prSet/>
      <dgm:spPr/>
      <dgm:t>
        <a:bodyPr/>
        <a:lstStyle/>
        <a:p>
          <a:pPr algn="ctr"/>
          <a:endParaRPr lang="en-US" dirty="0">
            <a:latin typeface="Gill Sans"/>
            <a:ea typeface="Cambria" panose="02040503050406030204" pitchFamily="18" charset="0"/>
          </a:endParaRPr>
        </a:p>
      </dgm:t>
    </dgm:pt>
    <dgm:pt modelId="{EB35837A-24F8-4392-95C4-14B62E2BC2E3}" type="sibTrans" cxnId="{E6098146-FF20-44BC-9CA6-B13EDB05DF24}">
      <dgm:prSet/>
      <dgm:spPr/>
      <dgm:t>
        <a:bodyPr/>
        <a:lstStyle/>
        <a:p>
          <a:pPr algn="ctr"/>
          <a:endParaRPr lang="en-US">
            <a:latin typeface="Gill Sans"/>
            <a:ea typeface="Cambria" panose="02040503050406030204" pitchFamily="18" charset="0"/>
          </a:endParaRPr>
        </a:p>
      </dgm:t>
    </dgm:pt>
    <dgm:pt modelId="{532A1BA4-312B-4AE6-958C-30D40DF23CD0}">
      <dgm:prSet/>
      <dgm:spPr/>
      <dgm:t>
        <a:bodyPr/>
        <a:lstStyle/>
        <a:p>
          <a:pPr algn="ctr"/>
          <a:r>
            <a:rPr lang="en-US" dirty="0">
              <a:latin typeface="Gill Sans"/>
              <a:ea typeface="Cambria" panose="02040503050406030204" pitchFamily="18" charset="0"/>
            </a:rPr>
            <a:t>SC updates Banner and generates Notice of Appointment</a:t>
          </a:r>
        </a:p>
      </dgm:t>
    </dgm:pt>
    <dgm:pt modelId="{885A99D3-60E7-4363-AA34-9CFF1ECE988A}" type="parTrans" cxnId="{2F4F87CD-F3A1-434C-9712-E8C62ECE5C05}">
      <dgm:prSet/>
      <dgm:spPr/>
      <dgm:t>
        <a:bodyPr/>
        <a:lstStyle/>
        <a:p>
          <a:pPr algn="ctr"/>
          <a:endParaRPr lang="en-US" dirty="0">
            <a:latin typeface="Gill Sans"/>
            <a:ea typeface="Cambria" panose="02040503050406030204" pitchFamily="18" charset="0"/>
          </a:endParaRPr>
        </a:p>
      </dgm:t>
    </dgm:pt>
    <dgm:pt modelId="{D5F47E58-7B7B-4C8B-8F11-F6B28BEEC201}" type="sibTrans" cxnId="{2F4F87CD-F3A1-434C-9712-E8C62ECE5C05}">
      <dgm:prSet/>
      <dgm:spPr/>
      <dgm:t>
        <a:bodyPr/>
        <a:lstStyle/>
        <a:p>
          <a:pPr algn="ctr"/>
          <a:endParaRPr lang="en-US">
            <a:latin typeface="Gill Sans"/>
            <a:ea typeface="Cambria" panose="02040503050406030204" pitchFamily="18" charset="0"/>
          </a:endParaRPr>
        </a:p>
      </dgm:t>
    </dgm:pt>
    <dgm:pt modelId="{B4B962B8-5F10-4BC3-9753-B38A465E5177}">
      <dgm:prSet/>
      <dgm:spPr/>
      <dgm:t>
        <a:bodyPr/>
        <a:lstStyle/>
        <a:p>
          <a:pPr algn="ctr"/>
          <a:r>
            <a:rPr lang="en-US" dirty="0">
              <a:latin typeface="Gill Sans"/>
              <a:ea typeface="Cambria" panose="02040503050406030204" pitchFamily="18" charset="0"/>
            </a:rPr>
            <a:t>Employee receives NOA via DocuSign email process</a:t>
          </a:r>
        </a:p>
      </dgm:t>
    </dgm:pt>
    <dgm:pt modelId="{A6A07352-8E8B-40A9-A0B2-1FD58A4FCA84}" type="parTrans" cxnId="{D59E2278-F72A-400E-9D6C-95C6A96FE010}">
      <dgm:prSet/>
      <dgm:spPr/>
      <dgm:t>
        <a:bodyPr/>
        <a:lstStyle/>
        <a:p>
          <a:pPr algn="ctr"/>
          <a:endParaRPr lang="en-US" dirty="0">
            <a:latin typeface="Gill Sans"/>
            <a:ea typeface="Cambria" panose="02040503050406030204" pitchFamily="18" charset="0"/>
          </a:endParaRPr>
        </a:p>
      </dgm:t>
    </dgm:pt>
    <dgm:pt modelId="{ED22172C-06D6-431C-8982-B851123EC47C}" type="sibTrans" cxnId="{D59E2278-F72A-400E-9D6C-95C6A96FE010}">
      <dgm:prSet/>
      <dgm:spPr/>
      <dgm:t>
        <a:bodyPr/>
        <a:lstStyle/>
        <a:p>
          <a:pPr algn="ctr"/>
          <a:endParaRPr lang="en-US">
            <a:latin typeface="Gill Sans"/>
            <a:ea typeface="Cambria" panose="02040503050406030204" pitchFamily="18" charset="0"/>
          </a:endParaRPr>
        </a:p>
      </dgm:t>
    </dgm:pt>
    <dgm:pt modelId="{681C62AF-8FE0-4C48-927D-A7BED861580C}">
      <dgm:prSet/>
      <dgm:spPr/>
      <dgm:t>
        <a:bodyPr/>
        <a:lstStyle/>
        <a:p>
          <a:pPr algn="ctr"/>
          <a:r>
            <a:rPr lang="en-US" dirty="0">
              <a:latin typeface="Gill Sans"/>
              <a:ea typeface="Cambria" panose="02040503050406030204" pitchFamily="18" charset="0"/>
            </a:rPr>
            <a:t>If approved, E&amp;LR/HRSP write non-renewal letter</a:t>
          </a:r>
        </a:p>
      </dgm:t>
    </dgm:pt>
    <dgm:pt modelId="{66E74532-653F-437B-BA3A-340CC78201EB}" type="parTrans" cxnId="{849A1FA9-19FC-4587-AC34-E0B34DBBA0E4}">
      <dgm:prSet/>
      <dgm:spPr/>
      <dgm:t>
        <a:bodyPr/>
        <a:lstStyle/>
        <a:p>
          <a:pPr algn="ctr"/>
          <a:endParaRPr lang="en-US" dirty="0">
            <a:latin typeface="Gill Sans"/>
            <a:ea typeface="Cambria" panose="02040503050406030204" pitchFamily="18" charset="0"/>
          </a:endParaRPr>
        </a:p>
      </dgm:t>
    </dgm:pt>
    <dgm:pt modelId="{39449215-F3BF-4C0D-9AB9-B6CE9CCFBB1E}" type="sibTrans" cxnId="{849A1FA9-19FC-4587-AC34-E0B34DBBA0E4}">
      <dgm:prSet/>
      <dgm:spPr/>
      <dgm:t>
        <a:bodyPr/>
        <a:lstStyle/>
        <a:p>
          <a:pPr algn="ctr"/>
          <a:endParaRPr lang="en-US">
            <a:latin typeface="Gill Sans"/>
            <a:ea typeface="Cambria" panose="02040503050406030204" pitchFamily="18" charset="0"/>
          </a:endParaRPr>
        </a:p>
      </dgm:t>
    </dgm:pt>
    <dgm:pt modelId="{49047808-B43C-40E1-8D67-7992DDC86BD1}">
      <dgm:prSet/>
      <dgm:spPr/>
      <dgm:t>
        <a:bodyPr/>
        <a:lstStyle/>
        <a:p>
          <a:pPr algn="ctr"/>
          <a:r>
            <a:rPr lang="en-US" dirty="0">
              <a:latin typeface="Gill Sans"/>
              <a:ea typeface="Cambria" panose="02040503050406030204" pitchFamily="18" charset="0"/>
            </a:rPr>
            <a:t>If approved, supervisor and HR meet with employee</a:t>
          </a:r>
        </a:p>
      </dgm:t>
    </dgm:pt>
    <dgm:pt modelId="{D2D28664-A073-4984-82E2-A5529BC5EF0D}" type="parTrans" cxnId="{1E8F2FA6-3C4C-4F25-9126-62BA67E18F83}">
      <dgm:prSet/>
      <dgm:spPr/>
      <dgm:t>
        <a:bodyPr/>
        <a:lstStyle/>
        <a:p>
          <a:pPr algn="ctr"/>
          <a:endParaRPr lang="en-US" dirty="0">
            <a:latin typeface="Gill Sans"/>
            <a:ea typeface="Cambria" panose="02040503050406030204" pitchFamily="18" charset="0"/>
          </a:endParaRPr>
        </a:p>
      </dgm:t>
    </dgm:pt>
    <dgm:pt modelId="{9F03C592-D949-4A7B-9432-A2ABDD0E0292}" type="sibTrans" cxnId="{1E8F2FA6-3C4C-4F25-9126-62BA67E18F83}">
      <dgm:prSet/>
      <dgm:spPr/>
      <dgm:t>
        <a:bodyPr/>
        <a:lstStyle/>
        <a:p>
          <a:pPr algn="ctr"/>
          <a:endParaRPr lang="en-US">
            <a:latin typeface="Gill Sans"/>
            <a:ea typeface="Cambria" panose="02040503050406030204" pitchFamily="18" charset="0"/>
          </a:endParaRPr>
        </a:p>
      </dgm:t>
    </dgm:pt>
    <dgm:pt modelId="{BE6FA3F0-4729-41CD-8441-B701E1576D6F}">
      <dgm:prSet/>
      <dgm:spPr/>
      <dgm:t>
        <a:bodyPr/>
        <a:lstStyle/>
        <a:p>
          <a:pPr algn="ctr"/>
          <a:r>
            <a:rPr lang="en-US" dirty="0">
              <a:latin typeface="Gill Sans"/>
              <a:ea typeface="Cambria" panose="02040503050406030204" pitchFamily="18" charset="0"/>
            </a:rPr>
            <a:t>HR notifies Service Center</a:t>
          </a:r>
        </a:p>
      </dgm:t>
    </dgm:pt>
    <dgm:pt modelId="{E11940B5-43A5-4621-96ED-BF0EA81B9842}" type="parTrans" cxnId="{71607BC8-A4ED-4EA5-95B7-E65FF0000452}">
      <dgm:prSet/>
      <dgm:spPr/>
      <dgm:t>
        <a:bodyPr/>
        <a:lstStyle/>
        <a:p>
          <a:pPr algn="ctr"/>
          <a:endParaRPr lang="en-US" dirty="0">
            <a:latin typeface="Gill Sans"/>
            <a:ea typeface="Cambria" panose="02040503050406030204" pitchFamily="18" charset="0"/>
          </a:endParaRPr>
        </a:p>
      </dgm:t>
    </dgm:pt>
    <dgm:pt modelId="{DC896A46-D82D-41CF-A163-E30A853109B5}" type="sibTrans" cxnId="{71607BC8-A4ED-4EA5-95B7-E65FF0000452}">
      <dgm:prSet/>
      <dgm:spPr/>
      <dgm:t>
        <a:bodyPr/>
        <a:lstStyle/>
        <a:p>
          <a:pPr algn="ctr"/>
          <a:endParaRPr lang="en-US">
            <a:latin typeface="Gill Sans"/>
            <a:ea typeface="Cambria" panose="02040503050406030204" pitchFamily="18" charset="0"/>
          </a:endParaRPr>
        </a:p>
      </dgm:t>
    </dgm:pt>
    <dgm:pt modelId="{D72DFC39-2606-406D-BCCC-2A623AFD7089}">
      <dgm:prSet/>
      <dgm:spPr/>
      <dgm:t>
        <a:bodyPr/>
        <a:lstStyle/>
        <a:p>
          <a:pPr algn="ctr"/>
          <a:r>
            <a:rPr lang="en-US" dirty="0">
              <a:latin typeface="Gill Sans"/>
              <a:ea typeface="Cambria" panose="02040503050406030204" pitchFamily="18" charset="0"/>
            </a:rPr>
            <a:t>Service Center processes</a:t>
          </a:r>
        </a:p>
      </dgm:t>
    </dgm:pt>
    <dgm:pt modelId="{FD843A3E-DA79-4E7C-81E6-79CD661254F6}" type="parTrans" cxnId="{5DB74997-AE0A-45B6-9981-57D7B4691373}">
      <dgm:prSet/>
      <dgm:spPr/>
      <dgm:t>
        <a:bodyPr/>
        <a:lstStyle/>
        <a:p>
          <a:pPr algn="ctr"/>
          <a:endParaRPr lang="en-US" dirty="0">
            <a:latin typeface="Gill Sans"/>
            <a:ea typeface="Cambria" panose="02040503050406030204" pitchFamily="18" charset="0"/>
          </a:endParaRPr>
        </a:p>
      </dgm:t>
    </dgm:pt>
    <dgm:pt modelId="{2F6C37ED-F090-4F67-9EC6-AABE0D2CC4A3}" type="sibTrans" cxnId="{5DB74997-AE0A-45B6-9981-57D7B4691373}">
      <dgm:prSet/>
      <dgm:spPr/>
      <dgm:t>
        <a:bodyPr/>
        <a:lstStyle/>
        <a:p>
          <a:pPr algn="ctr"/>
          <a:endParaRPr lang="en-US">
            <a:latin typeface="Gill Sans"/>
            <a:ea typeface="Cambria" panose="02040503050406030204" pitchFamily="18" charset="0"/>
          </a:endParaRPr>
        </a:p>
      </dgm:t>
    </dgm:pt>
    <dgm:pt modelId="{F02DFBE5-5C73-4B91-8201-232042E3F3B9}">
      <dgm:prSet/>
      <dgm:spPr/>
      <dgm:t>
        <a:bodyPr/>
        <a:lstStyle/>
        <a:p>
          <a:pPr algn="ctr"/>
          <a:r>
            <a:rPr lang="en-US" dirty="0">
              <a:latin typeface="Gill Sans"/>
              <a:ea typeface="Cambria" panose="02040503050406030204" pitchFamily="18" charset="0"/>
            </a:rPr>
            <a:t>HRSP assists supervisor with request</a:t>
          </a:r>
        </a:p>
      </dgm:t>
    </dgm:pt>
    <dgm:pt modelId="{9413AF4A-A074-48C6-BCA7-0334513AA917}" type="parTrans" cxnId="{99EACA69-32D7-439F-89CE-E4BD5110573D}">
      <dgm:prSet/>
      <dgm:spPr/>
      <dgm:t>
        <a:bodyPr/>
        <a:lstStyle/>
        <a:p>
          <a:pPr algn="ctr"/>
          <a:endParaRPr lang="en-US" dirty="0">
            <a:latin typeface="Gill Sans"/>
            <a:ea typeface="Cambria" panose="02040503050406030204" pitchFamily="18" charset="0"/>
          </a:endParaRPr>
        </a:p>
      </dgm:t>
    </dgm:pt>
    <dgm:pt modelId="{A44EAE3B-EA18-4A78-8A0C-D29307314970}" type="sibTrans" cxnId="{99EACA69-32D7-439F-89CE-E4BD5110573D}">
      <dgm:prSet/>
      <dgm:spPr/>
      <dgm:t>
        <a:bodyPr/>
        <a:lstStyle/>
        <a:p>
          <a:pPr algn="ctr"/>
          <a:endParaRPr lang="en-US">
            <a:latin typeface="Gill Sans"/>
            <a:ea typeface="Cambria" panose="02040503050406030204" pitchFamily="18" charset="0"/>
          </a:endParaRPr>
        </a:p>
      </dgm:t>
    </dgm:pt>
    <dgm:pt modelId="{A32CBC89-9529-4AFB-BAE3-F833FF9D83BF}" type="pres">
      <dgm:prSet presAssocID="{88323DE8-BAE8-4005-AB1A-13BAE7752796}" presName="mainComposite" presStyleCnt="0">
        <dgm:presLayoutVars>
          <dgm:chPref val="1"/>
          <dgm:dir/>
          <dgm:animOne val="branch"/>
          <dgm:animLvl val="lvl"/>
          <dgm:resizeHandles val="exact"/>
        </dgm:presLayoutVars>
      </dgm:prSet>
      <dgm:spPr/>
    </dgm:pt>
    <dgm:pt modelId="{873B5A34-2620-4DD5-B2CD-C88F4E702F5D}" type="pres">
      <dgm:prSet presAssocID="{88323DE8-BAE8-4005-AB1A-13BAE7752796}" presName="hierFlow" presStyleCnt="0"/>
      <dgm:spPr/>
    </dgm:pt>
    <dgm:pt modelId="{247C44F6-02A5-404D-A922-1B691E8AE102}" type="pres">
      <dgm:prSet presAssocID="{88323DE8-BAE8-4005-AB1A-13BAE7752796}" presName="hierChild1" presStyleCnt="0">
        <dgm:presLayoutVars>
          <dgm:chPref val="1"/>
          <dgm:animOne val="branch"/>
          <dgm:animLvl val="lvl"/>
        </dgm:presLayoutVars>
      </dgm:prSet>
      <dgm:spPr/>
    </dgm:pt>
    <dgm:pt modelId="{EA007EC3-FDC2-474B-8C73-EB82BD9C9B21}" type="pres">
      <dgm:prSet presAssocID="{7AC11EAB-1257-462E-9015-B8DBA4A3FF90}" presName="Name17" presStyleCnt="0"/>
      <dgm:spPr/>
    </dgm:pt>
    <dgm:pt modelId="{98931F07-983F-4C3D-A3AE-1CF10F522EF9}" type="pres">
      <dgm:prSet presAssocID="{7AC11EAB-1257-462E-9015-B8DBA4A3FF90}" presName="level1Shape" presStyleLbl="node0" presStyleIdx="0" presStyleCnt="1">
        <dgm:presLayoutVars>
          <dgm:chPref val="3"/>
        </dgm:presLayoutVars>
      </dgm:prSet>
      <dgm:spPr/>
    </dgm:pt>
    <dgm:pt modelId="{6F2AC51C-FB80-4D5A-B6CC-FA16CDFD5CED}" type="pres">
      <dgm:prSet presAssocID="{7AC11EAB-1257-462E-9015-B8DBA4A3FF90}" presName="hierChild2" presStyleCnt="0"/>
      <dgm:spPr/>
    </dgm:pt>
    <dgm:pt modelId="{A8BA21FD-768C-4F78-BBE7-DD026EB8691F}" type="pres">
      <dgm:prSet presAssocID="{D863B64D-F4D6-4EB3-BB0D-A97087473AB8}" presName="Name25" presStyleLbl="parChTrans1D2" presStyleIdx="0" presStyleCnt="2"/>
      <dgm:spPr/>
    </dgm:pt>
    <dgm:pt modelId="{AC891B3B-BA36-4579-BBFC-460D5800B16A}" type="pres">
      <dgm:prSet presAssocID="{D863B64D-F4D6-4EB3-BB0D-A97087473AB8}" presName="connTx" presStyleLbl="parChTrans1D2" presStyleIdx="0" presStyleCnt="2"/>
      <dgm:spPr/>
    </dgm:pt>
    <dgm:pt modelId="{FF633CFD-89F3-4751-B4AB-71D6ECCB7DA1}" type="pres">
      <dgm:prSet presAssocID="{F5DC2E77-5A26-42F3-8148-AE9011AC924F}" presName="Name30" presStyleCnt="0"/>
      <dgm:spPr/>
    </dgm:pt>
    <dgm:pt modelId="{3FC0E4B4-AF27-4444-BA1D-B5C2E3DB7AE4}" type="pres">
      <dgm:prSet presAssocID="{F5DC2E77-5A26-42F3-8148-AE9011AC924F}" presName="level2Shape" presStyleLbl="node2" presStyleIdx="0" presStyleCnt="2"/>
      <dgm:spPr/>
    </dgm:pt>
    <dgm:pt modelId="{D6908993-61D9-48A6-82A7-A1594AD0B78F}" type="pres">
      <dgm:prSet presAssocID="{F5DC2E77-5A26-42F3-8148-AE9011AC924F}" presName="hierChild3" presStyleCnt="0"/>
      <dgm:spPr/>
    </dgm:pt>
    <dgm:pt modelId="{0E399060-66A0-4FF9-A96B-659DC5B1A7D3}" type="pres">
      <dgm:prSet presAssocID="{B327893D-16AB-49CF-93BB-66DBEB59C69B}" presName="Name25" presStyleLbl="parChTrans1D2" presStyleIdx="1" presStyleCnt="2"/>
      <dgm:spPr/>
    </dgm:pt>
    <dgm:pt modelId="{33A1B6B7-035A-45CB-A69C-31C2BA51AE61}" type="pres">
      <dgm:prSet presAssocID="{B327893D-16AB-49CF-93BB-66DBEB59C69B}" presName="connTx" presStyleLbl="parChTrans1D2" presStyleIdx="1" presStyleCnt="2"/>
      <dgm:spPr/>
    </dgm:pt>
    <dgm:pt modelId="{25E9A12B-8374-45A0-8E40-B1C02A15F51A}" type="pres">
      <dgm:prSet presAssocID="{EB9C4350-9E55-4932-B210-FF302FE0B72C}" presName="Name30" presStyleCnt="0"/>
      <dgm:spPr/>
    </dgm:pt>
    <dgm:pt modelId="{4FBB273F-EDBA-4DD3-9456-46545D0F9541}" type="pres">
      <dgm:prSet presAssocID="{EB9C4350-9E55-4932-B210-FF302FE0B72C}" presName="level2Shape" presStyleLbl="node2" presStyleIdx="1" presStyleCnt="2"/>
      <dgm:spPr/>
    </dgm:pt>
    <dgm:pt modelId="{700D358D-CA75-489D-9872-B3CD6EDFDAE8}" type="pres">
      <dgm:prSet presAssocID="{EB9C4350-9E55-4932-B210-FF302FE0B72C}" presName="hierChild3" presStyleCnt="0"/>
      <dgm:spPr/>
    </dgm:pt>
    <dgm:pt modelId="{9B494CFB-DE70-4D76-A161-892FE4817503}" type="pres">
      <dgm:prSet presAssocID="{C12100D8-49F7-4181-B4F3-80624B775EB3}" presName="Name25" presStyleLbl="parChTrans1D3" presStyleIdx="0" presStyleCnt="1"/>
      <dgm:spPr/>
    </dgm:pt>
    <dgm:pt modelId="{BCC625A8-A1EA-49BD-86D2-FD463B9D10E3}" type="pres">
      <dgm:prSet presAssocID="{C12100D8-49F7-4181-B4F3-80624B775EB3}" presName="connTx" presStyleLbl="parChTrans1D3" presStyleIdx="0" presStyleCnt="1"/>
      <dgm:spPr/>
    </dgm:pt>
    <dgm:pt modelId="{08CE340F-B774-4089-B277-52708A1375F5}" type="pres">
      <dgm:prSet presAssocID="{126566C1-075B-46FB-8413-EBD8A4F23E50}" presName="Name30" presStyleCnt="0"/>
      <dgm:spPr/>
    </dgm:pt>
    <dgm:pt modelId="{5B7F3C07-0AFA-4C91-9C7F-6A423D9A7851}" type="pres">
      <dgm:prSet presAssocID="{126566C1-075B-46FB-8413-EBD8A4F23E50}" presName="level2Shape" presStyleLbl="node3" presStyleIdx="0" presStyleCnt="1"/>
      <dgm:spPr/>
    </dgm:pt>
    <dgm:pt modelId="{E78CD1C1-BF4F-4862-B519-2F0E65264EBB}" type="pres">
      <dgm:prSet presAssocID="{126566C1-075B-46FB-8413-EBD8A4F23E50}" presName="hierChild3" presStyleCnt="0"/>
      <dgm:spPr/>
    </dgm:pt>
    <dgm:pt modelId="{BD78F25D-36D1-4453-9592-E4512ACA53C7}" type="pres">
      <dgm:prSet presAssocID="{CD0A8309-F6B0-420E-BE44-E6F9E1E510F0}" presName="Name25" presStyleLbl="parChTrans1D4" presStyleIdx="0" presStyleCnt="10"/>
      <dgm:spPr/>
    </dgm:pt>
    <dgm:pt modelId="{99500DCC-579A-445C-A6BC-A2B774413417}" type="pres">
      <dgm:prSet presAssocID="{CD0A8309-F6B0-420E-BE44-E6F9E1E510F0}" presName="connTx" presStyleLbl="parChTrans1D4" presStyleIdx="0" presStyleCnt="10"/>
      <dgm:spPr/>
    </dgm:pt>
    <dgm:pt modelId="{4BA44BEE-5978-407D-96D1-A2D092BF1A43}" type="pres">
      <dgm:prSet presAssocID="{ABBB54FB-93E7-4718-8D19-8D8972610B82}" presName="Name30" presStyleCnt="0"/>
      <dgm:spPr/>
    </dgm:pt>
    <dgm:pt modelId="{415129A7-323D-4D6C-B344-7F94A25A7983}" type="pres">
      <dgm:prSet presAssocID="{ABBB54FB-93E7-4718-8D19-8D8972610B82}" presName="level2Shape" presStyleLbl="node4" presStyleIdx="0" presStyleCnt="10"/>
      <dgm:spPr/>
    </dgm:pt>
    <dgm:pt modelId="{EDF7EA5C-FAFC-48C7-A86F-352E07E5680C}" type="pres">
      <dgm:prSet presAssocID="{ABBB54FB-93E7-4718-8D19-8D8972610B82}" presName="hierChild3" presStyleCnt="0"/>
      <dgm:spPr/>
    </dgm:pt>
    <dgm:pt modelId="{32A289AC-2E51-4DDD-A011-B0DE2AB22E3E}" type="pres">
      <dgm:prSet presAssocID="{E62C4A2B-6A7C-4B82-91BE-A7234E041366}" presName="Name25" presStyleLbl="parChTrans1D4" presStyleIdx="1" presStyleCnt="10"/>
      <dgm:spPr/>
    </dgm:pt>
    <dgm:pt modelId="{2798DD92-4CF8-4055-BEF0-F045F823831F}" type="pres">
      <dgm:prSet presAssocID="{E62C4A2B-6A7C-4B82-91BE-A7234E041366}" presName="connTx" presStyleLbl="parChTrans1D4" presStyleIdx="1" presStyleCnt="10"/>
      <dgm:spPr/>
    </dgm:pt>
    <dgm:pt modelId="{8A159F89-0FCC-4D46-A78F-1339AA50BE7E}" type="pres">
      <dgm:prSet presAssocID="{C2140DF1-DE16-4443-936E-143E7F1CC884}" presName="Name30" presStyleCnt="0"/>
      <dgm:spPr/>
    </dgm:pt>
    <dgm:pt modelId="{A063F6EA-8E31-476A-A39A-BCDC26DEEFC9}" type="pres">
      <dgm:prSet presAssocID="{C2140DF1-DE16-4443-936E-143E7F1CC884}" presName="level2Shape" presStyleLbl="node4" presStyleIdx="1" presStyleCnt="10"/>
      <dgm:spPr/>
    </dgm:pt>
    <dgm:pt modelId="{B0246AA7-591C-467E-A264-D1B1D6B07FB2}" type="pres">
      <dgm:prSet presAssocID="{C2140DF1-DE16-4443-936E-143E7F1CC884}" presName="hierChild3" presStyleCnt="0"/>
      <dgm:spPr/>
    </dgm:pt>
    <dgm:pt modelId="{E4D2F386-9497-4533-9B30-C9D05907A347}" type="pres">
      <dgm:prSet presAssocID="{885A99D3-60E7-4363-AA34-9CFF1ECE988A}" presName="Name25" presStyleLbl="parChTrans1D4" presStyleIdx="2" presStyleCnt="10"/>
      <dgm:spPr/>
    </dgm:pt>
    <dgm:pt modelId="{428D4E37-3758-4FEE-9D25-82A419B5FF0D}" type="pres">
      <dgm:prSet presAssocID="{885A99D3-60E7-4363-AA34-9CFF1ECE988A}" presName="connTx" presStyleLbl="parChTrans1D4" presStyleIdx="2" presStyleCnt="10"/>
      <dgm:spPr/>
    </dgm:pt>
    <dgm:pt modelId="{B6A67C5E-F26E-44D7-9788-ED7AF2DADC9E}" type="pres">
      <dgm:prSet presAssocID="{532A1BA4-312B-4AE6-958C-30D40DF23CD0}" presName="Name30" presStyleCnt="0"/>
      <dgm:spPr/>
    </dgm:pt>
    <dgm:pt modelId="{6D3AF48B-455F-499D-8BBA-304D3140F4ED}" type="pres">
      <dgm:prSet presAssocID="{532A1BA4-312B-4AE6-958C-30D40DF23CD0}" presName="level2Shape" presStyleLbl="node4" presStyleIdx="2" presStyleCnt="10"/>
      <dgm:spPr/>
    </dgm:pt>
    <dgm:pt modelId="{E54ABE0C-A19F-48AD-8F28-BB9528D62794}" type="pres">
      <dgm:prSet presAssocID="{532A1BA4-312B-4AE6-958C-30D40DF23CD0}" presName="hierChild3" presStyleCnt="0"/>
      <dgm:spPr/>
    </dgm:pt>
    <dgm:pt modelId="{BB8A0978-1676-4C65-9FB5-A25F9D8EC340}" type="pres">
      <dgm:prSet presAssocID="{A6A07352-8E8B-40A9-A0B2-1FD58A4FCA84}" presName="Name25" presStyleLbl="parChTrans1D4" presStyleIdx="3" presStyleCnt="10"/>
      <dgm:spPr/>
    </dgm:pt>
    <dgm:pt modelId="{98B1EFCA-B25A-453C-8B3B-082224A7744F}" type="pres">
      <dgm:prSet presAssocID="{A6A07352-8E8B-40A9-A0B2-1FD58A4FCA84}" presName="connTx" presStyleLbl="parChTrans1D4" presStyleIdx="3" presStyleCnt="10"/>
      <dgm:spPr/>
    </dgm:pt>
    <dgm:pt modelId="{B031C351-EF5C-47E0-AD2F-1C3910ECD5BD}" type="pres">
      <dgm:prSet presAssocID="{B4B962B8-5F10-4BC3-9753-B38A465E5177}" presName="Name30" presStyleCnt="0"/>
      <dgm:spPr/>
    </dgm:pt>
    <dgm:pt modelId="{EDB1AA0C-FE6F-4AA3-A772-9751E6715537}" type="pres">
      <dgm:prSet presAssocID="{B4B962B8-5F10-4BC3-9753-B38A465E5177}" presName="level2Shape" presStyleLbl="node4" presStyleIdx="3" presStyleCnt="10"/>
      <dgm:spPr/>
    </dgm:pt>
    <dgm:pt modelId="{C26FAE26-B017-4FFF-9ABD-638BCFC9D530}" type="pres">
      <dgm:prSet presAssocID="{B4B962B8-5F10-4BC3-9753-B38A465E5177}" presName="hierChild3" presStyleCnt="0"/>
      <dgm:spPr/>
    </dgm:pt>
    <dgm:pt modelId="{0C3D298D-0CD7-4905-A3A5-10387C7CFD81}" type="pres">
      <dgm:prSet presAssocID="{2E24CA78-5544-4BFB-99D5-449F8A0B4DDC}" presName="Name25" presStyleLbl="parChTrans1D4" presStyleIdx="4" presStyleCnt="10"/>
      <dgm:spPr/>
    </dgm:pt>
    <dgm:pt modelId="{CF1ADFA3-6FC7-4941-9E55-83B466CAD1B7}" type="pres">
      <dgm:prSet presAssocID="{2E24CA78-5544-4BFB-99D5-449F8A0B4DDC}" presName="connTx" presStyleLbl="parChTrans1D4" presStyleIdx="4" presStyleCnt="10"/>
      <dgm:spPr/>
    </dgm:pt>
    <dgm:pt modelId="{0C3A9FCE-C8C1-40D7-BFA5-161D389031A3}" type="pres">
      <dgm:prSet presAssocID="{B58F1DA5-AA73-4681-ACD9-CCDB2F82BCC3}" presName="Name30" presStyleCnt="0"/>
      <dgm:spPr/>
    </dgm:pt>
    <dgm:pt modelId="{47ADABD3-B577-4867-B577-921069D284F7}" type="pres">
      <dgm:prSet presAssocID="{B58F1DA5-AA73-4681-ACD9-CCDB2F82BCC3}" presName="level2Shape" presStyleLbl="node4" presStyleIdx="4" presStyleCnt="10"/>
      <dgm:spPr/>
    </dgm:pt>
    <dgm:pt modelId="{870B8493-2EC5-447B-A4AF-0D12D1B971DB}" type="pres">
      <dgm:prSet presAssocID="{B58F1DA5-AA73-4681-ACD9-CCDB2F82BCC3}" presName="hierChild3" presStyleCnt="0"/>
      <dgm:spPr/>
    </dgm:pt>
    <dgm:pt modelId="{8541E726-C1DE-4DC3-B49A-3A0DC74ED852}" type="pres">
      <dgm:prSet presAssocID="{9413AF4A-A074-48C6-BCA7-0334513AA917}" presName="Name25" presStyleLbl="parChTrans1D4" presStyleIdx="5" presStyleCnt="10"/>
      <dgm:spPr/>
    </dgm:pt>
    <dgm:pt modelId="{59C4656A-1E19-41CA-8112-C63D929897A5}" type="pres">
      <dgm:prSet presAssocID="{9413AF4A-A074-48C6-BCA7-0334513AA917}" presName="connTx" presStyleLbl="parChTrans1D4" presStyleIdx="5" presStyleCnt="10"/>
      <dgm:spPr/>
    </dgm:pt>
    <dgm:pt modelId="{1C49EE62-6B74-44BC-A572-86565413B848}" type="pres">
      <dgm:prSet presAssocID="{F02DFBE5-5C73-4B91-8201-232042E3F3B9}" presName="Name30" presStyleCnt="0"/>
      <dgm:spPr/>
    </dgm:pt>
    <dgm:pt modelId="{BC080C76-1103-4905-8A8D-A9C791A5A2F0}" type="pres">
      <dgm:prSet presAssocID="{F02DFBE5-5C73-4B91-8201-232042E3F3B9}" presName="level2Shape" presStyleLbl="node4" presStyleIdx="5" presStyleCnt="10"/>
      <dgm:spPr/>
    </dgm:pt>
    <dgm:pt modelId="{C784B6D1-2755-4176-9D6A-0317470E122D}" type="pres">
      <dgm:prSet presAssocID="{F02DFBE5-5C73-4B91-8201-232042E3F3B9}" presName="hierChild3" presStyleCnt="0"/>
      <dgm:spPr/>
    </dgm:pt>
    <dgm:pt modelId="{535DCD35-2423-4D03-AF25-A85244D04967}" type="pres">
      <dgm:prSet presAssocID="{66E74532-653F-437B-BA3A-340CC78201EB}" presName="Name25" presStyleLbl="parChTrans1D4" presStyleIdx="6" presStyleCnt="10"/>
      <dgm:spPr/>
    </dgm:pt>
    <dgm:pt modelId="{89259377-2BDB-4D71-9830-8252AE456291}" type="pres">
      <dgm:prSet presAssocID="{66E74532-653F-437B-BA3A-340CC78201EB}" presName="connTx" presStyleLbl="parChTrans1D4" presStyleIdx="6" presStyleCnt="10"/>
      <dgm:spPr/>
    </dgm:pt>
    <dgm:pt modelId="{D2BFC623-6826-48F2-AE30-E7A37CC2B0AB}" type="pres">
      <dgm:prSet presAssocID="{681C62AF-8FE0-4C48-927D-A7BED861580C}" presName="Name30" presStyleCnt="0"/>
      <dgm:spPr/>
    </dgm:pt>
    <dgm:pt modelId="{B7F83E09-DF8A-441C-99FC-56AFAEBF5E8E}" type="pres">
      <dgm:prSet presAssocID="{681C62AF-8FE0-4C48-927D-A7BED861580C}" presName="level2Shape" presStyleLbl="node4" presStyleIdx="6" presStyleCnt="10"/>
      <dgm:spPr/>
    </dgm:pt>
    <dgm:pt modelId="{EB8143E6-0E85-4D9A-B082-0127C4C152FD}" type="pres">
      <dgm:prSet presAssocID="{681C62AF-8FE0-4C48-927D-A7BED861580C}" presName="hierChild3" presStyleCnt="0"/>
      <dgm:spPr/>
    </dgm:pt>
    <dgm:pt modelId="{623BB341-69FB-49AF-A5B8-68DDDCC739DB}" type="pres">
      <dgm:prSet presAssocID="{D2D28664-A073-4984-82E2-A5529BC5EF0D}" presName="Name25" presStyleLbl="parChTrans1D4" presStyleIdx="7" presStyleCnt="10"/>
      <dgm:spPr/>
    </dgm:pt>
    <dgm:pt modelId="{C3802663-A00D-4877-9D50-7F03226A4B37}" type="pres">
      <dgm:prSet presAssocID="{D2D28664-A073-4984-82E2-A5529BC5EF0D}" presName="connTx" presStyleLbl="parChTrans1D4" presStyleIdx="7" presStyleCnt="10"/>
      <dgm:spPr/>
    </dgm:pt>
    <dgm:pt modelId="{F41ED405-B945-4FAD-905C-09225DA4A459}" type="pres">
      <dgm:prSet presAssocID="{49047808-B43C-40E1-8D67-7992DDC86BD1}" presName="Name30" presStyleCnt="0"/>
      <dgm:spPr/>
    </dgm:pt>
    <dgm:pt modelId="{71A7C931-11BD-4064-9D9C-A9963653C33F}" type="pres">
      <dgm:prSet presAssocID="{49047808-B43C-40E1-8D67-7992DDC86BD1}" presName="level2Shape" presStyleLbl="node4" presStyleIdx="7" presStyleCnt="10"/>
      <dgm:spPr/>
    </dgm:pt>
    <dgm:pt modelId="{668849A0-513E-4BDB-9E5F-D43F0B14CBB9}" type="pres">
      <dgm:prSet presAssocID="{49047808-B43C-40E1-8D67-7992DDC86BD1}" presName="hierChild3" presStyleCnt="0"/>
      <dgm:spPr/>
    </dgm:pt>
    <dgm:pt modelId="{5542A6EE-4C4A-4020-8103-6BEA5E406AC6}" type="pres">
      <dgm:prSet presAssocID="{E11940B5-43A5-4621-96ED-BF0EA81B9842}" presName="Name25" presStyleLbl="parChTrans1D4" presStyleIdx="8" presStyleCnt="10"/>
      <dgm:spPr/>
    </dgm:pt>
    <dgm:pt modelId="{47FF5C2C-36F4-4B1D-BEC9-1A74EAE551C0}" type="pres">
      <dgm:prSet presAssocID="{E11940B5-43A5-4621-96ED-BF0EA81B9842}" presName="connTx" presStyleLbl="parChTrans1D4" presStyleIdx="8" presStyleCnt="10"/>
      <dgm:spPr/>
    </dgm:pt>
    <dgm:pt modelId="{7A448D8B-4B32-43BF-9843-3828A4E70ADD}" type="pres">
      <dgm:prSet presAssocID="{BE6FA3F0-4729-41CD-8441-B701E1576D6F}" presName="Name30" presStyleCnt="0"/>
      <dgm:spPr/>
    </dgm:pt>
    <dgm:pt modelId="{0DBE2AE3-62E3-40E2-A188-E1B960613682}" type="pres">
      <dgm:prSet presAssocID="{BE6FA3F0-4729-41CD-8441-B701E1576D6F}" presName="level2Shape" presStyleLbl="node4" presStyleIdx="8" presStyleCnt="10"/>
      <dgm:spPr/>
    </dgm:pt>
    <dgm:pt modelId="{790E13CD-214F-4522-9224-66C840AB0F0A}" type="pres">
      <dgm:prSet presAssocID="{BE6FA3F0-4729-41CD-8441-B701E1576D6F}" presName="hierChild3" presStyleCnt="0"/>
      <dgm:spPr/>
    </dgm:pt>
    <dgm:pt modelId="{3E29376F-D318-48DA-9A91-FF0370C13055}" type="pres">
      <dgm:prSet presAssocID="{FD843A3E-DA79-4E7C-81E6-79CD661254F6}" presName="Name25" presStyleLbl="parChTrans1D4" presStyleIdx="9" presStyleCnt="10"/>
      <dgm:spPr/>
    </dgm:pt>
    <dgm:pt modelId="{AEC8252C-AFA4-4442-ACCE-9B877FE38568}" type="pres">
      <dgm:prSet presAssocID="{FD843A3E-DA79-4E7C-81E6-79CD661254F6}" presName="connTx" presStyleLbl="parChTrans1D4" presStyleIdx="9" presStyleCnt="10"/>
      <dgm:spPr/>
    </dgm:pt>
    <dgm:pt modelId="{A13FC5C2-9261-4AA1-A5BB-6E9065882EBC}" type="pres">
      <dgm:prSet presAssocID="{D72DFC39-2606-406D-BCCC-2A623AFD7089}" presName="Name30" presStyleCnt="0"/>
      <dgm:spPr/>
    </dgm:pt>
    <dgm:pt modelId="{021A491F-1866-4801-8400-3F5CFD04726F}" type="pres">
      <dgm:prSet presAssocID="{D72DFC39-2606-406D-BCCC-2A623AFD7089}" presName="level2Shape" presStyleLbl="node4" presStyleIdx="9" presStyleCnt="10"/>
      <dgm:spPr/>
    </dgm:pt>
    <dgm:pt modelId="{CB80EE4E-E4D8-4DD5-8D4E-646E4CB97FAD}" type="pres">
      <dgm:prSet presAssocID="{D72DFC39-2606-406D-BCCC-2A623AFD7089}" presName="hierChild3" presStyleCnt="0"/>
      <dgm:spPr/>
    </dgm:pt>
    <dgm:pt modelId="{55F6CDB5-9006-47BC-8FAD-F5E09F62DDB7}" type="pres">
      <dgm:prSet presAssocID="{88323DE8-BAE8-4005-AB1A-13BAE7752796}" presName="bgShapesFlow" presStyleCnt="0"/>
      <dgm:spPr/>
    </dgm:pt>
  </dgm:ptLst>
  <dgm:cxnLst>
    <dgm:cxn modelId="{24F51D04-6C20-442F-A5FF-05AC508366FE}" type="presOf" srcId="{B327893D-16AB-49CF-93BB-66DBEB59C69B}" destId="{0E399060-66A0-4FF9-A96B-659DC5B1A7D3}" srcOrd="0" destOrd="0" presId="urn:microsoft.com/office/officeart/2005/8/layout/hierarchy5"/>
    <dgm:cxn modelId="{D4576F06-850E-40DD-B753-1BE00D4A3966}" type="presOf" srcId="{C12100D8-49F7-4181-B4F3-80624B775EB3}" destId="{BCC625A8-A1EA-49BD-86D2-FD463B9D10E3}" srcOrd="1" destOrd="0" presId="urn:microsoft.com/office/officeart/2005/8/layout/hierarchy5"/>
    <dgm:cxn modelId="{ADFE3B0A-9B0E-4C27-96FB-764918CC0E98}" type="presOf" srcId="{49047808-B43C-40E1-8D67-7992DDC86BD1}" destId="{71A7C931-11BD-4064-9D9C-A9963653C33F}" srcOrd="0" destOrd="0" presId="urn:microsoft.com/office/officeart/2005/8/layout/hierarchy5"/>
    <dgm:cxn modelId="{C52FA712-8C00-470D-B079-21D5592BD224}" type="presOf" srcId="{66E74532-653F-437B-BA3A-340CC78201EB}" destId="{535DCD35-2423-4D03-AF25-A85244D04967}" srcOrd="0" destOrd="0" presId="urn:microsoft.com/office/officeart/2005/8/layout/hierarchy5"/>
    <dgm:cxn modelId="{259AEF14-06AA-4ABC-AA51-7D3AC11BED85}" type="presOf" srcId="{B4B962B8-5F10-4BC3-9753-B38A465E5177}" destId="{EDB1AA0C-FE6F-4AA3-A772-9751E6715537}" srcOrd="0" destOrd="0" presId="urn:microsoft.com/office/officeart/2005/8/layout/hierarchy5"/>
    <dgm:cxn modelId="{374D5416-9361-4155-BADF-C7BFCACDEE39}" srcId="{88323DE8-BAE8-4005-AB1A-13BAE7752796}" destId="{7AC11EAB-1257-462E-9015-B8DBA4A3FF90}" srcOrd="0" destOrd="0" parTransId="{E5448F77-6948-45AC-97CB-26AEBD1D2C84}" sibTransId="{F7E10E68-3978-4E55-ADEC-36BD5923865B}"/>
    <dgm:cxn modelId="{A18D5F1E-73EC-4758-B8C3-99E8DB0FF6B4}" type="presOf" srcId="{66E74532-653F-437B-BA3A-340CC78201EB}" destId="{89259377-2BDB-4D71-9830-8252AE456291}" srcOrd="1" destOrd="0" presId="urn:microsoft.com/office/officeart/2005/8/layout/hierarchy5"/>
    <dgm:cxn modelId="{FAFA232B-511A-4EC1-8001-1BFBB54A55DE}" type="presOf" srcId="{885A99D3-60E7-4363-AA34-9CFF1ECE988A}" destId="{428D4E37-3758-4FEE-9D25-82A419B5FF0D}" srcOrd="1" destOrd="0" presId="urn:microsoft.com/office/officeart/2005/8/layout/hierarchy5"/>
    <dgm:cxn modelId="{ECDBA72D-89AC-4693-92B1-AD8B703EC6F1}" type="presOf" srcId="{D863B64D-F4D6-4EB3-BB0D-A97087473AB8}" destId="{AC891B3B-BA36-4579-BBFC-460D5800B16A}" srcOrd="1" destOrd="0" presId="urn:microsoft.com/office/officeart/2005/8/layout/hierarchy5"/>
    <dgm:cxn modelId="{577B7E38-05B6-4FC0-BB43-524EBBE85635}" type="presOf" srcId="{532A1BA4-312B-4AE6-958C-30D40DF23CD0}" destId="{6D3AF48B-455F-499D-8BBA-304D3140F4ED}" srcOrd="0" destOrd="0" presId="urn:microsoft.com/office/officeart/2005/8/layout/hierarchy5"/>
    <dgm:cxn modelId="{2D3DAD38-6E8E-4DFA-99BE-4CEBBFEE85EA}" srcId="{126566C1-075B-46FB-8413-EBD8A4F23E50}" destId="{ABBB54FB-93E7-4718-8D19-8D8972610B82}" srcOrd="0" destOrd="0" parTransId="{CD0A8309-F6B0-420E-BE44-E6F9E1E510F0}" sibTransId="{2AF8B6C6-C16F-48B3-9E0C-1CFFB456649E}"/>
    <dgm:cxn modelId="{6C55113C-0A3E-4266-AB2F-614DBBA7E5B4}" type="presOf" srcId="{D72DFC39-2606-406D-BCCC-2A623AFD7089}" destId="{021A491F-1866-4801-8400-3F5CFD04726F}" srcOrd="0" destOrd="0" presId="urn:microsoft.com/office/officeart/2005/8/layout/hierarchy5"/>
    <dgm:cxn modelId="{07C5C441-B223-4EB9-BBA0-8355F634D990}" type="presOf" srcId="{D2D28664-A073-4984-82E2-A5529BC5EF0D}" destId="{C3802663-A00D-4877-9D50-7F03226A4B37}" srcOrd="1" destOrd="0" presId="urn:microsoft.com/office/officeart/2005/8/layout/hierarchy5"/>
    <dgm:cxn modelId="{1BAD4F43-861B-4D1A-8A52-8806F0489FD1}" type="presOf" srcId="{9413AF4A-A074-48C6-BCA7-0334513AA917}" destId="{8541E726-C1DE-4DC3-B49A-3A0DC74ED852}" srcOrd="0" destOrd="0" presId="urn:microsoft.com/office/officeart/2005/8/layout/hierarchy5"/>
    <dgm:cxn modelId="{E6098146-FF20-44BC-9CA6-B13EDB05DF24}" srcId="{ABBB54FB-93E7-4718-8D19-8D8972610B82}" destId="{C2140DF1-DE16-4443-936E-143E7F1CC884}" srcOrd="0" destOrd="0" parTransId="{E62C4A2B-6A7C-4B82-91BE-A7234E041366}" sibTransId="{EB35837A-24F8-4392-95C4-14B62E2BC2E3}"/>
    <dgm:cxn modelId="{B7EE2D67-2EDA-4701-934D-0E19982CF30E}" type="presOf" srcId="{E62C4A2B-6A7C-4B82-91BE-A7234E041366}" destId="{32A289AC-2E51-4DDD-A011-B0DE2AB22E3E}" srcOrd="0" destOrd="0" presId="urn:microsoft.com/office/officeart/2005/8/layout/hierarchy5"/>
    <dgm:cxn modelId="{88CE1E48-E036-4AD7-AA90-3D406DA9E49E}" type="presOf" srcId="{FD843A3E-DA79-4E7C-81E6-79CD661254F6}" destId="{AEC8252C-AFA4-4442-ACCE-9B877FE38568}" srcOrd="1" destOrd="0" presId="urn:microsoft.com/office/officeart/2005/8/layout/hierarchy5"/>
    <dgm:cxn modelId="{2161F248-7A48-4EB4-B635-5C1838F15578}" type="presOf" srcId="{FD843A3E-DA79-4E7C-81E6-79CD661254F6}" destId="{3E29376F-D318-48DA-9A91-FF0370C13055}" srcOrd="0" destOrd="0" presId="urn:microsoft.com/office/officeart/2005/8/layout/hierarchy5"/>
    <dgm:cxn modelId="{99EACA69-32D7-439F-89CE-E4BD5110573D}" srcId="{B58F1DA5-AA73-4681-ACD9-CCDB2F82BCC3}" destId="{F02DFBE5-5C73-4B91-8201-232042E3F3B9}" srcOrd="0" destOrd="0" parTransId="{9413AF4A-A074-48C6-BCA7-0334513AA917}" sibTransId="{A44EAE3B-EA18-4A78-8A0C-D29307314970}"/>
    <dgm:cxn modelId="{3FB24150-B335-47E2-AF20-085EE69EF0E4}" type="presOf" srcId="{2E24CA78-5544-4BFB-99D5-449F8A0B4DDC}" destId="{CF1ADFA3-6FC7-4941-9E55-83B466CAD1B7}" srcOrd="1" destOrd="0" presId="urn:microsoft.com/office/officeart/2005/8/layout/hierarchy5"/>
    <dgm:cxn modelId="{6AD7D550-3D16-4461-BB62-5D9E3CD33152}" type="presOf" srcId="{E11940B5-43A5-4621-96ED-BF0EA81B9842}" destId="{47FF5C2C-36F4-4B1D-BEC9-1A74EAE551C0}" srcOrd="1" destOrd="0" presId="urn:microsoft.com/office/officeart/2005/8/layout/hierarchy5"/>
    <dgm:cxn modelId="{3F444571-E6F1-4D50-94B8-33F20A9035E2}" type="presOf" srcId="{9413AF4A-A074-48C6-BCA7-0334513AA917}" destId="{59C4656A-1E19-41CA-8112-C63D929897A5}" srcOrd="1" destOrd="0" presId="urn:microsoft.com/office/officeart/2005/8/layout/hierarchy5"/>
    <dgm:cxn modelId="{D67CFF52-F8A6-4BEF-A4AD-C33271625B2C}" srcId="{EB9C4350-9E55-4932-B210-FF302FE0B72C}" destId="{126566C1-075B-46FB-8413-EBD8A4F23E50}" srcOrd="0" destOrd="0" parTransId="{C12100D8-49F7-4181-B4F3-80624B775EB3}" sibTransId="{52243A3A-C5DB-487C-AAE2-FE085405E946}"/>
    <dgm:cxn modelId="{14D60473-7032-455C-A28B-AE95A4D1FE56}" type="presOf" srcId="{CD0A8309-F6B0-420E-BE44-E6F9E1E510F0}" destId="{99500DCC-579A-445C-A6BC-A2B774413417}" srcOrd="1" destOrd="0" presId="urn:microsoft.com/office/officeart/2005/8/layout/hierarchy5"/>
    <dgm:cxn modelId="{92C7CB73-D895-4EF4-A5D5-A7D0737FCE77}" type="presOf" srcId="{7AC11EAB-1257-462E-9015-B8DBA4A3FF90}" destId="{98931F07-983F-4C3D-A3AE-1CF10F522EF9}" srcOrd="0" destOrd="0" presId="urn:microsoft.com/office/officeart/2005/8/layout/hierarchy5"/>
    <dgm:cxn modelId="{D59E2278-F72A-400E-9D6C-95C6A96FE010}" srcId="{C2140DF1-DE16-4443-936E-143E7F1CC884}" destId="{B4B962B8-5F10-4BC3-9753-B38A465E5177}" srcOrd="1" destOrd="0" parTransId="{A6A07352-8E8B-40A9-A0B2-1FD58A4FCA84}" sibTransId="{ED22172C-06D6-431C-8982-B851123EC47C}"/>
    <dgm:cxn modelId="{21FA4C79-91FE-413D-A20F-ED8CA65A1181}" type="presOf" srcId="{E62C4A2B-6A7C-4B82-91BE-A7234E041366}" destId="{2798DD92-4CF8-4055-BEF0-F045F823831F}" srcOrd="1" destOrd="0" presId="urn:microsoft.com/office/officeart/2005/8/layout/hierarchy5"/>
    <dgm:cxn modelId="{7DF2BE79-D835-46E5-9A77-3440773AA746}" type="presOf" srcId="{C2140DF1-DE16-4443-936E-143E7F1CC884}" destId="{A063F6EA-8E31-476A-A39A-BCDC26DEEFC9}" srcOrd="0" destOrd="0" presId="urn:microsoft.com/office/officeart/2005/8/layout/hierarchy5"/>
    <dgm:cxn modelId="{CF244986-C41C-48C4-B2C0-2D2B2C3064F8}" type="presOf" srcId="{88323DE8-BAE8-4005-AB1A-13BAE7752796}" destId="{A32CBC89-9529-4AFB-BAE3-F833FF9D83BF}" srcOrd="0" destOrd="0" presId="urn:microsoft.com/office/officeart/2005/8/layout/hierarchy5"/>
    <dgm:cxn modelId="{E165AF8A-80F8-4079-B29D-2EE8552A8712}" srcId="{7AC11EAB-1257-462E-9015-B8DBA4A3FF90}" destId="{EB9C4350-9E55-4932-B210-FF302FE0B72C}" srcOrd="1" destOrd="0" parTransId="{B327893D-16AB-49CF-93BB-66DBEB59C69B}" sibTransId="{F5326A35-3DBE-451D-8C8F-F8BE348A7FA6}"/>
    <dgm:cxn modelId="{4178258C-7254-4779-9F7C-FC1BBF2AC400}" type="presOf" srcId="{CD0A8309-F6B0-420E-BE44-E6F9E1E510F0}" destId="{BD78F25D-36D1-4453-9592-E4512ACA53C7}" srcOrd="0" destOrd="0" presId="urn:microsoft.com/office/officeart/2005/8/layout/hierarchy5"/>
    <dgm:cxn modelId="{4D78B18F-7EAD-49F4-861E-11D3FDD62AD7}" type="presOf" srcId="{A6A07352-8E8B-40A9-A0B2-1FD58A4FCA84}" destId="{98B1EFCA-B25A-453C-8B3B-082224A7744F}" srcOrd="1" destOrd="0" presId="urn:microsoft.com/office/officeart/2005/8/layout/hierarchy5"/>
    <dgm:cxn modelId="{548A0190-A593-4388-AAF0-038DEDE9012B}" type="presOf" srcId="{2E24CA78-5544-4BFB-99D5-449F8A0B4DDC}" destId="{0C3D298D-0CD7-4905-A3A5-10387C7CFD81}" srcOrd="0" destOrd="0" presId="urn:microsoft.com/office/officeart/2005/8/layout/hierarchy5"/>
    <dgm:cxn modelId="{5DB74997-AE0A-45B6-9981-57D7B4691373}" srcId="{F02DFBE5-5C73-4B91-8201-232042E3F3B9}" destId="{D72DFC39-2606-406D-BCCC-2A623AFD7089}" srcOrd="3" destOrd="0" parTransId="{FD843A3E-DA79-4E7C-81E6-79CD661254F6}" sibTransId="{2F6C37ED-F090-4F67-9EC6-AABE0D2CC4A3}"/>
    <dgm:cxn modelId="{EC05E09C-3844-4DC7-A120-07E9D756CEEA}" type="presOf" srcId="{D2D28664-A073-4984-82E2-A5529BC5EF0D}" destId="{623BB341-69FB-49AF-A5B8-68DDDCC739DB}" srcOrd="0" destOrd="0" presId="urn:microsoft.com/office/officeart/2005/8/layout/hierarchy5"/>
    <dgm:cxn modelId="{5A778CA3-8453-419E-87B4-3464AC4B1AF2}" type="presOf" srcId="{885A99D3-60E7-4363-AA34-9CFF1ECE988A}" destId="{E4D2F386-9497-4533-9B30-C9D05907A347}" srcOrd="0" destOrd="0" presId="urn:microsoft.com/office/officeart/2005/8/layout/hierarchy5"/>
    <dgm:cxn modelId="{1E8F2FA6-3C4C-4F25-9126-62BA67E18F83}" srcId="{F02DFBE5-5C73-4B91-8201-232042E3F3B9}" destId="{49047808-B43C-40E1-8D67-7992DDC86BD1}" srcOrd="1" destOrd="0" parTransId="{D2D28664-A073-4984-82E2-A5529BC5EF0D}" sibTransId="{9F03C592-D949-4A7B-9432-A2ABDD0E0292}"/>
    <dgm:cxn modelId="{68D96DA6-1642-455C-84D1-6848ED5545DA}" type="presOf" srcId="{D863B64D-F4D6-4EB3-BB0D-A97087473AB8}" destId="{A8BA21FD-768C-4F78-BBE7-DD026EB8691F}" srcOrd="0" destOrd="0" presId="urn:microsoft.com/office/officeart/2005/8/layout/hierarchy5"/>
    <dgm:cxn modelId="{849A1FA9-19FC-4587-AC34-E0B34DBBA0E4}" srcId="{F02DFBE5-5C73-4B91-8201-232042E3F3B9}" destId="{681C62AF-8FE0-4C48-927D-A7BED861580C}" srcOrd="0" destOrd="0" parTransId="{66E74532-653F-437B-BA3A-340CC78201EB}" sibTransId="{39449215-F3BF-4C0D-9AB9-B6CE9CCFBB1E}"/>
    <dgm:cxn modelId="{D7DE21B6-36B4-42B2-A282-35921C261432}" type="presOf" srcId="{BE6FA3F0-4729-41CD-8441-B701E1576D6F}" destId="{0DBE2AE3-62E3-40E2-A188-E1B960613682}" srcOrd="0" destOrd="0" presId="urn:microsoft.com/office/officeart/2005/8/layout/hierarchy5"/>
    <dgm:cxn modelId="{76E45CBB-9EF9-452B-82E4-25D506669CC7}" type="presOf" srcId="{F5DC2E77-5A26-42F3-8148-AE9011AC924F}" destId="{3FC0E4B4-AF27-4444-BA1D-B5C2E3DB7AE4}" srcOrd="0" destOrd="0" presId="urn:microsoft.com/office/officeart/2005/8/layout/hierarchy5"/>
    <dgm:cxn modelId="{0A85B5BC-004E-428E-9BF6-D39CE6A09C44}" srcId="{7AC11EAB-1257-462E-9015-B8DBA4A3FF90}" destId="{F5DC2E77-5A26-42F3-8148-AE9011AC924F}" srcOrd="0" destOrd="0" parTransId="{D863B64D-F4D6-4EB3-BB0D-A97087473AB8}" sibTransId="{96FD8FE0-201B-441E-B38A-C96E1888E1A8}"/>
    <dgm:cxn modelId="{0AE703C4-4BE1-4ADB-AC72-A3D58CEBA00B}" type="presOf" srcId="{681C62AF-8FE0-4C48-927D-A7BED861580C}" destId="{B7F83E09-DF8A-441C-99FC-56AFAEBF5E8E}" srcOrd="0" destOrd="0" presId="urn:microsoft.com/office/officeart/2005/8/layout/hierarchy5"/>
    <dgm:cxn modelId="{71607BC8-A4ED-4EA5-95B7-E65FF0000452}" srcId="{F02DFBE5-5C73-4B91-8201-232042E3F3B9}" destId="{BE6FA3F0-4729-41CD-8441-B701E1576D6F}" srcOrd="2" destOrd="0" parTransId="{E11940B5-43A5-4621-96ED-BF0EA81B9842}" sibTransId="{DC896A46-D82D-41CF-A163-E30A853109B5}"/>
    <dgm:cxn modelId="{D2FAB0CA-8D7B-4388-9392-5E700D6B3E13}" type="presOf" srcId="{ABBB54FB-93E7-4718-8D19-8D8972610B82}" destId="{415129A7-323D-4D6C-B344-7F94A25A7983}" srcOrd="0" destOrd="0" presId="urn:microsoft.com/office/officeart/2005/8/layout/hierarchy5"/>
    <dgm:cxn modelId="{2F4F87CD-F3A1-434C-9712-E8C62ECE5C05}" srcId="{C2140DF1-DE16-4443-936E-143E7F1CC884}" destId="{532A1BA4-312B-4AE6-958C-30D40DF23CD0}" srcOrd="0" destOrd="0" parTransId="{885A99D3-60E7-4363-AA34-9CFF1ECE988A}" sibTransId="{D5F47E58-7B7B-4C8B-8F11-F6B28BEEC201}"/>
    <dgm:cxn modelId="{56DE8ECD-6ECF-497C-84CE-D3470683E02F}" type="presOf" srcId="{E11940B5-43A5-4621-96ED-BF0EA81B9842}" destId="{5542A6EE-4C4A-4020-8103-6BEA5E406AC6}" srcOrd="0" destOrd="0" presId="urn:microsoft.com/office/officeart/2005/8/layout/hierarchy5"/>
    <dgm:cxn modelId="{D518C3DA-D683-4B1C-B930-8F232CF00AD6}" type="presOf" srcId="{F02DFBE5-5C73-4B91-8201-232042E3F3B9}" destId="{BC080C76-1103-4905-8A8D-A9C791A5A2F0}" srcOrd="0" destOrd="0" presId="urn:microsoft.com/office/officeart/2005/8/layout/hierarchy5"/>
    <dgm:cxn modelId="{CA65F4DE-7F46-46C9-A11B-A2D500B5CBD0}" type="presOf" srcId="{126566C1-075B-46FB-8413-EBD8A4F23E50}" destId="{5B7F3C07-0AFA-4C91-9C7F-6A423D9A7851}" srcOrd="0" destOrd="0" presId="urn:microsoft.com/office/officeart/2005/8/layout/hierarchy5"/>
    <dgm:cxn modelId="{9472A1E8-DB6A-4A5B-8E4F-61C53AF4BEF5}" type="presOf" srcId="{A6A07352-8E8B-40A9-A0B2-1FD58A4FCA84}" destId="{BB8A0978-1676-4C65-9FB5-A25F9D8EC340}" srcOrd="0" destOrd="0" presId="urn:microsoft.com/office/officeart/2005/8/layout/hierarchy5"/>
    <dgm:cxn modelId="{8ACFE8EE-2FCA-4DB2-B6AA-53A87CE5A583}" type="presOf" srcId="{C12100D8-49F7-4181-B4F3-80624B775EB3}" destId="{9B494CFB-DE70-4D76-A161-892FE4817503}" srcOrd="0" destOrd="0" presId="urn:microsoft.com/office/officeart/2005/8/layout/hierarchy5"/>
    <dgm:cxn modelId="{625FB7F1-F67A-4ECD-BB89-C4E227C430D0}" type="presOf" srcId="{B327893D-16AB-49CF-93BB-66DBEB59C69B}" destId="{33A1B6B7-035A-45CB-A69C-31C2BA51AE61}" srcOrd="1" destOrd="0" presId="urn:microsoft.com/office/officeart/2005/8/layout/hierarchy5"/>
    <dgm:cxn modelId="{8607EAF1-3514-4B8F-8632-A2128F6411BB}" type="presOf" srcId="{EB9C4350-9E55-4932-B210-FF302FE0B72C}" destId="{4FBB273F-EDBA-4DD3-9456-46545D0F9541}" srcOrd="0" destOrd="0" presId="urn:microsoft.com/office/officeart/2005/8/layout/hierarchy5"/>
    <dgm:cxn modelId="{BB633CF2-2532-4132-B233-7CE414913E32}" type="presOf" srcId="{B58F1DA5-AA73-4681-ACD9-CCDB2F82BCC3}" destId="{47ADABD3-B577-4867-B577-921069D284F7}" srcOrd="0" destOrd="0" presId="urn:microsoft.com/office/officeart/2005/8/layout/hierarchy5"/>
    <dgm:cxn modelId="{CC77A7F8-E0C2-4E00-9554-968323CD70B4}" srcId="{126566C1-075B-46FB-8413-EBD8A4F23E50}" destId="{B58F1DA5-AA73-4681-ACD9-CCDB2F82BCC3}" srcOrd="1" destOrd="0" parTransId="{2E24CA78-5544-4BFB-99D5-449F8A0B4DDC}" sibTransId="{47AD9942-3B55-42C1-A017-ED3EF66558BA}"/>
    <dgm:cxn modelId="{D8AA4DFE-9B32-490B-B544-548F465A71E7}" type="presParOf" srcId="{A32CBC89-9529-4AFB-BAE3-F833FF9D83BF}" destId="{873B5A34-2620-4DD5-B2CD-C88F4E702F5D}" srcOrd="0" destOrd="0" presId="urn:microsoft.com/office/officeart/2005/8/layout/hierarchy5"/>
    <dgm:cxn modelId="{22088039-A333-45FA-B06E-B85407BE8A74}" type="presParOf" srcId="{873B5A34-2620-4DD5-B2CD-C88F4E702F5D}" destId="{247C44F6-02A5-404D-A922-1B691E8AE102}" srcOrd="0" destOrd="0" presId="urn:microsoft.com/office/officeart/2005/8/layout/hierarchy5"/>
    <dgm:cxn modelId="{C672CFA1-C10A-4166-A0B7-566A049AD0CF}" type="presParOf" srcId="{247C44F6-02A5-404D-A922-1B691E8AE102}" destId="{EA007EC3-FDC2-474B-8C73-EB82BD9C9B21}" srcOrd="0" destOrd="0" presId="urn:microsoft.com/office/officeart/2005/8/layout/hierarchy5"/>
    <dgm:cxn modelId="{D20EAB37-7EE1-494E-A462-689FE59B7EDE}" type="presParOf" srcId="{EA007EC3-FDC2-474B-8C73-EB82BD9C9B21}" destId="{98931F07-983F-4C3D-A3AE-1CF10F522EF9}" srcOrd="0" destOrd="0" presId="urn:microsoft.com/office/officeart/2005/8/layout/hierarchy5"/>
    <dgm:cxn modelId="{340490E9-3D24-41F0-AAC2-3A4194D5BCE7}" type="presParOf" srcId="{EA007EC3-FDC2-474B-8C73-EB82BD9C9B21}" destId="{6F2AC51C-FB80-4D5A-B6CC-FA16CDFD5CED}" srcOrd="1" destOrd="0" presId="urn:microsoft.com/office/officeart/2005/8/layout/hierarchy5"/>
    <dgm:cxn modelId="{4AC58AB7-87FD-4DDA-9FEE-3E38943E0300}" type="presParOf" srcId="{6F2AC51C-FB80-4D5A-B6CC-FA16CDFD5CED}" destId="{A8BA21FD-768C-4F78-BBE7-DD026EB8691F}" srcOrd="0" destOrd="0" presId="urn:microsoft.com/office/officeart/2005/8/layout/hierarchy5"/>
    <dgm:cxn modelId="{8940BAFB-95A6-42A8-B2E5-0DFA56FBFB35}" type="presParOf" srcId="{A8BA21FD-768C-4F78-BBE7-DD026EB8691F}" destId="{AC891B3B-BA36-4579-BBFC-460D5800B16A}" srcOrd="0" destOrd="0" presId="urn:microsoft.com/office/officeart/2005/8/layout/hierarchy5"/>
    <dgm:cxn modelId="{D4D1400B-C607-4349-8F2B-35A2724B1793}" type="presParOf" srcId="{6F2AC51C-FB80-4D5A-B6CC-FA16CDFD5CED}" destId="{FF633CFD-89F3-4751-B4AB-71D6ECCB7DA1}" srcOrd="1" destOrd="0" presId="urn:microsoft.com/office/officeart/2005/8/layout/hierarchy5"/>
    <dgm:cxn modelId="{A9876307-80EC-4AF8-AD08-BFBEEE61A0DB}" type="presParOf" srcId="{FF633CFD-89F3-4751-B4AB-71D6ECCB7DA1}" destId="{3FC0E4B4-AF27-4444-BA1D-B5C2E3DB7AE4}" srcOrd="0" destOrd="0" presId="urn:microsoft.com/office/officeart/2005/8/layout/hierarchy5"/>
    <dgm:cxn modelId="{C3896F99-B59D-4931-A3A4-A5D561825C39}" type="presParOf" srcId="{FF633CFD-89F3-4751-B4AB-71D6ECCB7DA1}" destId="{D6908993-61D9-48A6-82A7-A1594AD0B78F}" srcOrd="1" destOrd="0" presId="urn:microsoft.com/office/officeart/2005/8/layout/hierarchy5"/>
    <dgm:cxn modelId="{2BD65A12-805E-4409-A894-D64554E6D2C1}" type="presParOf" srcId="{6F2AC51C-FB80-4D5A-B6CC-FA16CDFD5CED}" destId="{0E399060-66A0-4FF9-A96B-659DC5B1A7D3}" srcOrd="2" destOrd="0" presId="urn:microsoft.com/office/officeart/2005/8/layout/hierarchy5"/>
    <dgm:cxn modelId="{333A5B87-59DD-4AC6-8CB1-BD784520D7DE}" type="presParOf" srcId="{0E399060-66A0-4FF9-A96B-659DC5B1A7D3}" destId="{33A1B6B7-035A-45CB-A69C-31C2BA51AE61}" srcOrd="0" destOrd="0" presId="urn:microsoft.com/office/officeart/2005/8/layout/hierarchy5"/>
    <dgm:cxn modelId="{12CA0F36-E506-47D3-9177-F6467D39D272}" type="presParOf" srcId="{6F2AC51C-FB80-4D5A-B6CC-FA16CDFD5CED}" destId="{25E9A12B-8374-45A0-8E40-B1C02A15F51A}" srcOrd="3" destOrd="0" presId="urn:microsoft.com/office/officeart/2005/8/layout/hierarchy5"/>
    <dgm:cxn modelId="{27CEAAF5-2C56-40F6-A383-C0227D9DE256}" type="presParOf" srcId="{25E9A12B-8374-45A0-8E40-B1C02A15F51A}" destId="{4FBB273F-EDBA-4DD3-9456-46545D0F9541}" srcOrd="0" destOrd="0" presId="urn:microsoft.com/office/officeart/2005/8/layout/hierarchy5"/>
    <dgm:cxn modelId="{DA317DC1-90EB-437E-BB3C-175EB62CEFAA}" type="presParOf" srcId="{25E9A12B-8374-45A0-8E40-B1C02A15F51A}" destId="{700D358D-CA75-489D-9872-B3CD6EDFDAE8}" srcOrd="1" destOrd="0" presId="urn:microsoft.com/office/officeart/2005/8/layout/hierarchy5"/>
    <dgm:cxn modelId="{A2EA112F-5E34-427D-869A-483CAEE85BC2}" type="presParOf" srcId="{700D358D-CA75-489D-9872-B3CD6EDFDAE8}" destId="{9B494CFB-DE70-4D76-A161-892FE4817503}" srcOrd="0" destOrd="0" presId="urn:microsoft.com/office/officeart/2005/8/layout/hierarchy5"/>
    <dgm:cxn modelId="{7C9B6EBA-C48E-450F-8BFD-F647BCA074CB}" type="presParOf" srcId="{9B494CFB-DE70-4D76-A161-892FE4817503}" destId="{BCC625A8-A1EA-49BD-86D2-FD463B9D10E3}" srcOrd="0" destOrd="0" presId="urn:microsoft.com/office/officeart/2005/8/layout/hierarchy5"/>
    <dgm:cxn modelId="{6BBADBFC-2E5E-4891-8A80-10C00F980A6B}" type="presParOf" srcId="{700D358D-CA75-489D-9872-B3CD6EDFDAE8}" destId="{08CE340F-B774-4089-B277-52708A1375F5}" srcOrd="1" destOrd="0" presId="urn:microsoft.com/office/officeart/2005/8/layout/hierarchy5"/>
    <dgm:cxn modelId="{175B1C98-8269-4C13-87EE-E9FEB6A84612}" type="presParOf" srcId="{08CE340F-B774-4089-B277-52708A1375F5}" destId="{5B7F3C07-0AFA-4C91-9C7F-6A423D9A7851}" srcOrd="0" destOrd="0" presId="urn:microsoft.com/office/officeart/2005/8/layout/hierarchy5"/>
    <dgm:cxn modelId="{D5055CF4-C961-4AAE-B263-9BC069B5245D}" type="presParOf" srcId="{08CE340F-B774-4089-B277-52708A1375F5}" destId="{E78CD1C1-BF4F-4862-B519-2F0E65264EBB}" srcOrd="1" destOrd="0" presId="urn:microsoft.com/office/officeart/2005/8/layout/hierarchy5"/>
    <dgm:cxn modelId="{FAA34674-90A5-474C-9D6A-FDDE9D4F528F}" type="presParOf" srcId="{E78CD1C1-BF4F-4862-B519-2F0E65264EBB}" destId="{BD78F25D-36D1-4453-9592-E4512ACA53C7}" srcOrd="0" destOrd="0" presId="urn:microsoft.com/office/officeart/2005/8/layout/hierarchy5"/>
    <dgm:cxn modelId="{30D4C21A-BAD0-4C2E-8DF5-DE870AAEB73D}" type="presParOf" srcId="{BD78F25D-36D1-4453-9592-E4512ACA53C7}" destId="{99500DCC-579A-445C-A6BC-A2B774413417}" srcOrd="0" destOrd="0" presId="urn:microsoft.com/office/officeart/2005/8/layout/hierarchy5"/>
    <dgm:cxn modelId="{2DDDD1B5-3F2B-4215-B3E1-5BA7035561B4}" type="presParOf" srcId="{E78CD1C1-BF4F-4862-B519-2F0E65264EBB}" destId="{4BA44BEE-5978-407D-96D1-A2D092BF1A43}" srcOrd="1" destOrd="0" presId="urn:microsoft.com/office/officeart/2005/8/layout/hierarchy5"/>
    <dgm:cxn modelId="{F55C2797-32B8-45C5-8037-AD6D9AC6F201}" type="presParOf" srcId="{4BA44BEE-5978-407D-96D1-A2D092BF1A43}" destId="{415129A7-323D-4D6C-B344-7F94A25A7983}" srcOrd="0" destOrd="0" presId="urn:microsoft.com/office/officeart/2005/8/layout/hierarchy5"/>
    <dgm:cxn modelId="{91980840-D228-486D-B715-76665CD9DB67}" type="presParOf" srcId="{4BA44BEE-5978-407D-96D1-A2D092BF1A43}" destId="{EDF7EA5C-FAFC-48C7-A86F-352E07E5680C}" srcOrd="1" destOrd="0" presId="urn:microsoft.com/office/officeart/2005/8/layout/hierarchy5"/>
    <dgm:cxn modelId="{0BB59057-7114-482B-95A4-505AA2285033}" type="presParOf" srcId="{EDF7EA5C-FAFC-48C7-A86F-352E07E5680C}" destId="{32A289AC-2E51-4DDD-A011-B0DE2AB22E3E}" srcOrd="0" destOrd="0" presId="urn:microsoft.com/office/officeart/2005/8/layout/hierarchy5"/>
    <dgm:cxn modelId="{960D04DC-1B00-4472-A466-B8B7D720ACA1}" type="presParOf" srcId="{32A289AC-2E51-4DDD-A011-B0DE2AB22E3E}" destId="{2798DD92-4CF8-4055-BEF0-F045F823831F}" srcOrd="0" destOrd="0" presId="urn:microsoft.com/office/officeart/2005/8/layout/hierarchy5"/>
    <dgm:cxn modelId="{4A60D14C-C596-4716-BBBB-9AA4C2AD6DBB}" type="presParOf" srcId="{EDF7EA5C-FAFC-48C7-A86F-352E07E5680C}" destId="{8A159F89-0FCC-4D46-A78F-1339AA50BE7E}" srcOrd="1" destOrd="0" presId="urn:microsoft.com/office/officeart/2005/8/layout/hierarchy5"/>
    <dgm:cxn modelId="{CCB9C781-2A8E-46D4-9232-11E8347D3F7E}" type="presParOf" srcId="{8A159F89-0FCC-4D46-A78F-1339AA50BE7E}" destId="{A063F6EA-8E31-476A-A39A-BCDC26DEEFC9}" srcOrd="0" destOrd="0" presId="urn:microsoft.com/office/officeart/2005/8/layout/hierarchy5"/>
    <dgm:cxn modelId="{087D4438-291C-45FE-8C32-B6709A6B67FE}" type="presParOf" srcId="{8A159F89-0FCC-4D46-A78F-1339AA50BE7E}" destId="{B0246AA7-591C-467E-A264-D1B1D6B07FB2}" srcOrd="1" destOrd="0" presId="urn:microsoft.com/office/officeart/2005/8/layout/hierarchy5"/>
    <dgm:cxn modelId="{B179C2FB-0CC1-484F-B70C-17E24DCC1345}" type="presParOf" srcId="{B0246AA7-591C-467E-A264-D1B1D6B07FB2}" destId="{E4D2F386-9497-4533-9B30-C9D05907A347}" srcOrd="0" destOrd="0" presId="urn:microsoft.com/office/officeart/2005/8/layout/hierarchy5"/>
    <dgm:cxn modelId="{520A638C-68B7-452F-9A95-1B1D3195FB95}" type="presParOf" srcId="{E4D2F386-9497-4533-9B30-C9D05907A347}" destId="{428D4E37-3758-4FEE-9D25-82A419B5FF0D}" srcOrd="0" destOrd="0" presId="urn:microsoft.com/office/officeart/2005/8/layout/hierarchy5"/>
    <dgm:cxn modelId="{03653EB1-4B2C-4AB6-B6A9-1E41F36A15FC}" type="presParOf" srcId="{B0246AA7-591C-467E-A264-D1B1D6B07FB2}" destId="{B6A67C5E-F26E-44D7-9788-ED7AF2DADC9E}" srcOrd="1" destOrd="0" presId="urn:microsoft.com/office/officeart/2005/8/layout/hierarchy5"/>
    <dgm:cxn modelId="{E8A86069-55E0-4B82-8EEE-DD8FFB3AF6E0}" type="presParOf" srcId="{B6A67C5E-F26E-44D7-9788-ED7AF2DADC9E}" destId="{6D3AF48B-455F-499D-8BBA-304D3140F4ED}" srcOrd="0" destOrd="0" presId="urn:microsoft.com/office/officeart/2005/8/layout/hierarchy5"/>
    <dgm:cxn modelId="{9AA35066-493E-4016-A9F6-3A609A908091}" type="presParOf" srcId="{B6A67C5E-F26E-44D7-9788-ED7AF2DADC9E}" destId="{E54ABE0C-A19F-48AD-8F28-BB9528D62794}" srcOrd="1" destOrd="0" presId="urn:microsoft.com/office/officeart/2005/8/layout/hierarchy5"/>
    <dgm:cxn modelId="{E58811C0-B741-462B-8AD8-75AA02B7E1C7}" type="presParOf" srcId="{B0246AA7-591C-467E-A264-D1B1D6B07FB2}" destId="{BB8A0978-1676-4C65-9FB5-A25F9D8EC340}" srcOrd="2" destOrd="0" presId="urn:microsoft.com/office/officeart/2005/8/layout/hierarchy5"/>
    <dgm:cxn modelId="{63DD4AC0-891D-4752-971B-E99981315258}" type="presParOf" srcId="{BB8A0978-1676-4C65-9FB5-A25F9D8EC340}" destId="{98B1EFCA-B25A-453C-8B3B-082224A7744F}" srcOrd="0" destOrd="0" presId="urn:microsoft.com/office/officeart/2005/8/layout/hierarchy5"/>
    <dgm:cxn modelId="{482C280D-48D6-4392-AD39-7BF47F9FB8B8}" type="presParOf" srcId="{B0246AA7-591C-467E-A264-D1B1D6B07FB2}" destId="{B031C351-EF5C-47E0-AD2F-1C3910ECD5BD}" srcOrd="3" destOrd="0" presId="urn:microsoft.com/office/officeart/2005/8/layout/hierarchy5"/>
    <dgm:cxn modelId="{A7E43A2A-7430-4715-ACD2-D1ABFAE0CD21}" type="presParOf" srcId="{B031C351-EF5C-47E0-AD2F-1C3910ECD5BD}" destId="{EDB1AA0C-FE6F-4AA3-A772-9751E6715537}" srcOrd="0" destOrd="0" presId="urn:microsoft.com/office/officeart/2005/8/layout/hierarchy5"/>
    <dgm:cxn modelId="{FCD74B33-79DE-4E79-880C-7088EE39DC47}" type="presParOf" srcId="{B031C351-EF5C-47E0-AD2F-1C3910ECD5BD}" destId="{C26FAE26-B017-4FFF-9ABD-638BCFC9D530}" srcOrd="1" destOrd="0" presId="urn:microsoft.com/office/officeart/2005/8/layout/hierarchy5"/>
    <dgm:cxn modelId="{FCDFE55C-E8FE-4E4C-8635-DBB1C16491DA}" type="presParOf" srcId="{E78CD1C1-BF4F-4862-B519-2F0E65264EBB}" destId="{0C3D298D-0CD7-4905-A3A5-10387C7CFD81}" srcOrd="2" destOrd="0" presId="urn:microsoft.com/office/officeart/2005/8/layout/hierarchy5"/>
    <dgm:cxn modelId="{F7471219-4BCB-40BB-B639-EDCADED45914}" type="presParOf" srcId="{0C3D298D-0CD7-4905-A3A5-10387C7CFD81}" destId="{CF1ADFA3-6FC7-4941-9E55-83B466CAD1B7}" srcOrd="0" destOrd="0" presId="urn:microsoft.com/office/officeart/2005/8/layout/hierarchy5"/>
    <dgm:cxn modelId="{F49B6926-988D-409A-9331-D0267B308F55}" type="presParOf" srcId="{E78CD1C1-BF4F-4862-B519-2F0E65264EBB}" destId="{0C3A9FCE-C8C1-40D7-BFA5-161D389031A3}" srcOrd="3" destOrd="0" presId="urn:microsoft.com/office/officeart/2005/8/layout/hierarchy5"/>
    <dgm:cxn modelId="{6D45EF62-7D0D-40F4-A522-9C7576523CD2}" type="presParOf" srcId="{0C3A9FCE-C8C1-40D7-BFA5-161D389031A3}" destId="{47ADABD3-B577-4867-B577-921069D284F7}" srcOrd="0" destOrd="0" presId="urn:microsoft.com/office/officeart/2005/8/layout/hierarchy5"/>
    <dgm:cxn modelId="{A2909351-9DC6-445F-A341-6541C2193146}" type="presParOf" srcId="{0C3A9FCE-C8C1-40D7-BFA5-161D389031A3}" destId="{870B8493-2EC5-447B-A4AF-0D12D1B971DB}" srcOrd="1" destOrd="0" presId="urn:microsoft.com/office/officeart/2005/8/layout/hierarchy5"/>
    <dgm:cxn modelId="{544F1A2B-4FF4-4C60-BA79-E457EC7B3CC6}" type="presParOf" srcId="{870B8493-2EC5-447B-A4AF-0D12D1B971DB}" destId="{8541E726-C1DE-4DC3-B49A-3A0DC74ED852}" srcOrd="0" destOrd="0" presId="urn:microsoft.com/office/officeart/2005/8/layout/hierarchy5"/>
    <dgm:cxn modelId="{9BD81D97-F5F3-4C51-9148-8B3B48C97CD0}" type="presParOf" srcId="{8541E726-C1DE-4DC3-B49A-3A0DC74ED852}" destId="{59C4656A-1E19-41CA-8112-C63D929897A5}" srcOrd="0" destOrd="0" presId="urn:microsoft.com/office/officeart/2005/8/layout/hierarchy5"/>
    <dgm:cxn modelId="{8954B21A-9DD5-4F5C-ABF8-2BF25522E2DE}" type="presParOf" srcId="{870B8493-2EC5-447B-A4AF-0D12D1B971DB}" destId="{1C49EE62-6B74-44BC-A572-86565413B848}" srcOrd="1" destOrd="0" presId="urn:microsoft.com/office/officeart/2005/8/layout/hierarchy5"/>
    <dgm:cxn modelId="{4D9DBC3C-962E-4018-9DFF-B6C98A6CF79C}" type="presParOf" srcId="{1C49EE62-6B74-44BC-A572-86565413B848}" destId="{BC080C76-1103-4905-8A8D-A9C791A5A2F0}" srcOrd="0" destOrd="0" presId="urn:microsoft.com/office/officeart/2005/8/layout/hierarchy5"/>
    <dgm:cxn modelId="{67918035-0D82-4BBA-BBB1-413E3BAC82EA}" type="presParOf" srcId="{1C49EE62-6B74-44BC-A572-86565413B848}" destId="{C784B6D1-2755-4176-9D6A-0317470E122D}" srcOrd="1" destOrd="0" presId="urn:microsoft.com/office/officeart/2005/8/layout/hierarchy5"/>
    <dgm:cxn modelId="{C0ABCF51-963A-4DFB-B8C8-6E3FE4C19D9D}" type="presParOf" srcId="{C784B6D1-2755-4176-9D6A-0317470E122D}" destId="{535DCD35-2423-4D03-AF25-A85244D04967}" srcOrd="0" destOrd="0" presId="urn:microsoft.com/office/officeart/2005/8/layout/hierarchy5"/>
    <dgm:cxn modelId="{15835712-AFDA-4E91-9FFB-ABD6562611F9}" type="presParOf" srcId="{535DCD35-2423-4D03-AF25-A85244D04967}" destId="{89259377-2BDB-4D71-9830-8252AE456291}" srcOrd="0" destOrd="0" presId="urn:microsoft.com/office/officeart/2005/8/layout/hierarchy5"/>
    <dgm:cxn modelId="{F07ED6A1-01C5-4624-9C4F-FF3286CEF775}" type="presParOf" srcId="{C784B6D1-2755-4176-9D6A-0317470E122D}" destId="{D2BFC623-6826-48F2-AE30-E7A37CC2B0AB}" srcOrd="1" destOrd="0" presId="urn:microsoft.com/office/officeart/2005/8/layout/hierarchy5"/>
    <dgm:cxn modelId="{66576E25-A7DC-4056-9FC2-F6DADF5CD4BA}" type="presParOf" srcId="{D2BFC623-6826-48F2-AE30-E7A37CC2B0AB}" destId="{B7F83E09-DF8A-441C-99FC-56AFAEBF5E8E}" srcOrd="0" destOrd="0" presId="urn:microsoft.com/office/officeart/2005/8/layout/hierarchy5"/>
    <dgm:cxn modelId="{802D854B-8108-4503-B3E6-7867A10564C7}" type="presParOf" srcId="{D2BFC623-6826-48F2-AE30-E7A37CC2B0AB}" destId="{EB8143E6-0E85-4D9A-B082-0127C4C152FD}" srcOrd="1" destOrd="0" presId="urn:microsoft.com/office/officeart/2005/8/layout/hierarchy5"/>
    <dgm:cxn modelId="{366E84F1-96C4-4639-A352-CE8FEC2066DB}" type="presParOf" srcId="{C784B6D1-2755-4176-9D6A-0317470E122D}" destId="{623BB341-69FB-49AF-A5B8-68DDDCC739DB}" srcOrd="2" destOrd="0" presId="urn:microsoft.com/office/officeart/2005/8/layout/hierarchy5"/>
    <dgm:cxn modelId="{73737ADB-4195-4E22-87BD-B6BAA7C4F875}" type="presParOf" srcId="{623BB341-69FB-49AF-A5B8-68DDDCC739DB}" destId="{C3802663-A00D-4877-9D50-7F03226A4B37}" srcOrd="0" destOrd="0" presId="urn:microsoft.com/office/officeart/2005/8/layout/hierarchy5"/>
    <dgm:cxn modelId="{5B861CBB-23A8-4BAF-9882-AE8F36A1118B}" type="presParOf" srcId="{C784B6D1-2755-4176-9D6A-0317470E122D}" destId="{F41ED405-B945-4FAD-905C-09225DA4A459}" srcOrd="3" destOrd="0" presId="urn:microsoft.com/office/officeart/2005/8/layout/hierarchy5"/>
    <dgm:cxn modelId="{563BB1A5-BC4C-4ABE-8727-93DF7B5BCFDF}" type="presParOf" srcId="{F41ED405-B945-4FAD-905C-09225DA4A459}" destId="{71A7C931-11BD-4064-9D9C-A9963653C33F}" srcOrd="0" destOrd="0" presId="urn:microsoft.com/office/officeart/2005/8/layout/hierarchy5"/>
    <dgm:cxn modelId="{75D75049-8F93-4405-AE0B-2D3882A12A4F}" type="presParOf" srcId="{F41ED405-B945-4FAD-905C-09225DA4A459}" destId="{668849A0-513E-4BDB-9E5F-D43F0B14CBB9}" srcOrd="1" destOrd="0" presId="urn:microsoft.com/office/officeart/2005/8/layout/hierarchy5"/>
    <dgm:cxn modelId="{30ED4745-C320-4A07-9268-2342979B407C}" type="presParOf" srcId="{C784B6D1-2755-4176-9D6A-0317470E122D}" destId="{5542A6EE-4C4A-4020-8103-6BEA5E406AC6}" srcOrd="4" destOrd="0" presId="urn:microsoft.com/office/officeart/2005/8/layout/hierarchy5"/>
    <dgm:cxn modelId="{4DE938F5-5957-4C5C-BAC1-A62BFC4B11A6}" type="presParOf" srcId="{5542A6EE-4C4A-4020-8103-6BEA5E406AC6}" destId="{47FF5C2C-36F4-4B1D-BEC9-1A74EAE551C0}" srcOrd="0" destOrd="0" presId="urn:microsoft.com/office/officeart/2005/8/layout/hierarchy5"/>
    <dgm:cxn modelId="{8DF85268-81BE-4531-B394-816F522C5536}" type="presParOf" srcId="{C784B6D1-2755-4176-9D6A-0317470E122D}" destId="{7A448D8B-4B32-43BF-9843-3828A4E70ADD}" srcOrd="5" destOrd="0" presId="urn:microsoft.com/office/officeart/2005/8/layout/hierarchy5"/>
    <dgm:cxn modelId="{CD42C76B-C88F-4385-817C-FB4C435F1B49}" type="presParOf" srcId="{7A448D8B-4B32-43BF-9843-3828A4E70ADD}" destId="{0DBE2AE3-62E3-40E2-A188-E1B960613682}" srcOrd="0" destOrd="0" presId="urn:microsoft.com/office/officeart/2005/8/layout/hierarchy5"/>
    <dgm:cxn modelId="{1F279097-FB7E-4BC4-8536-CB9197D904B4}" type="presParOf" srcId="{7A448D8B-4B32-43BF-9843-3828A4E70ADD}" destId="{790E13CD-214F-4522-9224-66C840AB0F0A}" srcOrd="1" destOrd="0" presId="urn:microsoft.com/office/officeart/2005/8/layout/hierarchy5"/>
    <dgm:cxn modelId="{102CED86-BC01-4381-98B1-5A85C8A84E86}" type="presParOf" srcId="{C784B6D1-2755-4176-9D6A-0317470E122D}" destId="{3E29376F-D318-48DA-9A91-FF0370C13055}" srcOrd="6" destOrd="0" presId="urn:microsoft.com/office/officeart/2005/8/layout/hierarchy5"/>
    <dgm:cxn modelId="{D5AE24E9-BF07-4EF5-834F-A766CF387A23}" type="presParOf" srcId="{3E29376F-D318-48DA-9A91-FF0370C13055}" destId="{AEC8252C-AFA4-4442-ACCE-9B877FE38568}" srcOrd="0" destOrd="0" presId="urn:microsoft.com/office/officeart/2005/8/layout/hierarchy5"/>
    <dgm:cxn modelId="{6125798C-245D-473D-A726-5F9EE0B5F7CD}" type="presParOf" srcId="{C784B6D1-2755-4176-9D6A-0317470E122D}" destId="{A13FC5C2-9261-4AA1-A5BB-6E9065882EBC}" srcOrd="7" destOrd="0" presId="urn:microsoft.com/office/officeart/2005/8/layout/hierarchy5"/>
    <dgm:cxn modelId="{80AE8D85-0F7C-4FA1-BB01-58118FDEB5B9}" type="presParOf" srcId="{A13FC5C2-9261-4AA1-A5BB-6E9065882EBC}" destId="{021A491F-1866-4801-8400-3F5CFD04726F}" srcOrd="0" destOrd="0" presId="urn:microsoft.com/office/officeart/2005/8/layout/hierarchy5"/>
    <dgm:cxn modelId="{1CBA4DE6-4EED-4386-8977-6C766B2CD9C7}" type="presParOf" srcId="{A13FC5C2-9261-4AA1-A5BB-6E9065882EBC}" destId="{CB80EE4E-E4D8-4DD5-8D4E-646E4CB97FAD}" srcOrd="1" destOrd="0" presId="urn:microsoft.com/office/officeart/2005/8/layout/hierarchy5"/>
    <dgm:cxn modelId="{8A5FFC06-A5D0-4FCB-888F-635F198E2E2E}" type="presParOf" srcId="{A32CBC89-9529-4AFB-BAE3-F833FF9D83BF}" destId="{55F6CDB5-9006-47BC-8FAD-F5E09F62DDB7}" srcOrd="1" destOrd="0" presId="urn:microsoft.com/office/officeart/2005/8/layout/hierarchy5"/>
  </dgm:cxnLst>
  <dgm:bg>
    <a:solidFill>
      <a:schemeClr val="accent3">
        <a:lumMod val="40000"/>
        <a:lumOff val="60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4E6D967-5D9A-4699-9984-C06882FC6689}" type="doc">
      <dgm:prSet loTypeId="urn:microsoft.com/office/officeart/2005/8/layout/list1" loCatId="list" qsTypeId="urn:microsoft.com/office/officeart/2005/8/quickstyle/simple3" qsCatId="simple" csTypeId="urn:microsoft.com/office/officeart/2005/8/colors/accent3_2" csCatId="accent3" phldr="1"/>
      <dgm:spPr/>
      <dgm:t>
        <a:bodyPr/>
        <a:lstStyle/>
        <a:p>
          <a:endParaRPr lang="en-US"/>
        </a:p>
      </dgm:t>
    </dgm:pt>
    <dgm:pt modelId="{13A87313-E30F-44B6-9D55-7EDBB0FE834D}">
      <dgm:prSet custT="1"/>
      <dgm:spPr/>
      <dgm:t>
        <a:bodyPr/>
        <a:lstStyle/>
        <a:p>
          <a:r>
            <a:rPr lang="en-US" sz="1400" b="1" dirty="0">
              <a:latin typeface="Gill Sans"/>
              <a:ea typeface="Cambria" panose="02040503050406030204" pitchFamily="18" charset="0"/>
            </a:rPr>
            <a:t>Trying to change FTE via the renewal process</a:t>
          </a:r>
          <a:endParaRPr lang="en-US" sz="1400" dirty="0">
            <a:latin typeface="Gill Sans"/>
            <a:ea typeface="Cambria" panose="02040503050406030204" pitchFamily="18" charset="0"/>
          </a:endParaRPr>
        </a:p>
      </dgm:t>
    </dgm:pt>
    <dgm:pt modelId="{FAF06A21-5849-435D-942E-E94A8027BC34}" type="parTrans" cxnId="{622BA844-5EBE-45B0-9241-3C2AF2D271B7}">
      <dgm:prSet/>
      <dgm:spPr/>
      <dgm:t>
        <a:bodyPr/>
        <a:lstStyle/>
        <a:p>
          <a:endParaRPr lang="en-US" sz="1400">
            <a:latin typeface="Gill Sans"/>
            <a:ea typeface="Cambria" panose="02040503050406030204" pitchFamily="18" charset="0"/>
          </a:endParaRPr>
        </a:p>
      </dgm:t>
    </dgm:pt>
    <dgm:pt modelId="{A9381D54-C186-4593-B7DF-477D9FF32F87}" type="sibTrans" cxnId="{622BA844-5EBE-45B0-9241-3C2AF2D271B7}">
      <dgm:prSet/>
      <dgm:spPr/>
      <dgm:t>
        <a:bodyPr/>
        <a:lstStyle/>
        <a:p>
          <a:endParaRPr lang="en-US" sz="1400">
            <a:latin typeface="Gill Sans"/>
            <a:ea typeface="Cambria" panose="02040503050406030204" pitchFamily="18" charset="0"/>
          </a:endParaRPr>
        </a:p>
      </dgm:t>
    </dgm:pt>
    <dgm:pt modelId="{26A4243B-E386-40F9-9FB4-46A0CCF44EBE}">
      <dgm:prSet custT="1"/>
      <dgm:spPr/>
      <dgm:t>
        <a:bodyPr/>
        <a:lstStyle/>
        <a:p>
          <a:r>
            <a:rPr lang="en-US" sz="1400" dirty="0">
              <a:latin typeface="Gill Sans"/>
              <a:ea typeface="Cambria" panose="02040503050406030204" pitchFamily="18" charset="0"/>
            </a:rPr>
            <a:t>We cannot change FTE via the automated portion of the renewal process due to Banner limitations. </a:t>
          </a:r>
        </a:p>
      </dgm:t>
    </dgm:pt>
    <dgm:pt modelId="{EEC23CB5-314F-4DE7-8F62-99459CC70685}" type="parTrans" cxnId="{3C07C8F4-25C0-47F4-95B8-DBD3D96CB445}">
      <dgm:prSet/>
      <dgm:spPr/>
      <dgm:t>
        <a:bodyPr/>
        <a:lstStyle/>
        <a:p>
          <a:endParaRPr lang="en-US" sz="1400">
            <a:latin typeface="Gill Sans"/>
            <a:ea typeface="Cambria" panose="02040503050406030204" pitchFamily="18" charset="0"/>
          </a:endParaRPr>
        </a:p>
      </dgm:t>
    </dgm:pt>
    <dgm:pt modelId="{551718AE-F293-45C5-BF30-138E5FDA41C3}" type="sibTrans" cxnId="{3C07C8F4-25C0-47F4-95B8-DBD3D96CB445}">
      <dgm:prSet/>
      <dgm:spPr/>
      <dgm:t>
        <a:bodyPr/>
        <a:lstStyle/>
        <a:p>
          <a:endParaRPr lang="en-US" sz="1400">
            <a:latin typeface="Gill Sans"/>
            <a:ea typeface="Cambria" panose="02040503050406030204" pitchFamily="18" charset="0"/>
          </a:endParaRPr>
        </a:p>
      </dgm:t>
    </dgm:pt>
    <dgm:pt modelId="{E6492FC6-1B27-4978-9BEE-79806263EA37}">
      <dgm:prSet custT="1"/>
      <dgm:spPr/>
      <dgm:t>
        <a:bodyPr/>
        <a:lstStyle/>
        <a:p>
          <a:r>
            <a:rPr lang="en-US" sz="1400" b="1" dirty="0">
              <a:latin typeface="Gill Sans"/>
              <a:ea typeface="Cambria" panose="02040503050406030204" pitchFamily="18" charset="0"/>
            </a:rPr>
            <a:t>Someone you expected to see does not appear on your list in the tool</a:t>
          </a:r>
        </a:p>
      </dgm:t>
    </dgm:pt>
    <dgm:pt modelId="{CB319F1F-0CC3-4683-A98E-ADCE08751EAB}" type="parTrans" cxnId="{9C0A67F1-51AD-46B9-976F-0EC4EF5D73E5}">
      <dgm:prSet/>
      <dgm:spPr/>
      <dgm:t>
        <a:bodyPr/>
        <a:lstStyle/>
        <a:p>
          <a:endParaRPr lang="en-US" sz="1400">
            <a:latin typeface="Gill Sans"/>
            <a:ea typeface="Cambria" panose="02040503050406030204" pitchFamily="18" charset="0"/>
          </a:endParaRPr>
        </a:p>
      </dgm:t>
    </dgm:pt>
    <dgm:pt modelId="{ACB98F10-5671-4D3A-AAF7-9B8F91972D0B}" type="sibTrans" cxnId="{9C0A67F1-51AD-46B9-976F-0EC4EF5D73E5}">
      <dgm:prSet/>
      <dgm:spPr/>
      <dgm:t>
        <a:bodyPr/>
        <a:lstStyle/>
        <a:p>
          <a:endParaRPr lang="en-US" sz="1400">
            <a:latin typeface="Gill Sans"/>
            <a:ea typeface="Cambria" panose="02040503050406030204" pitchFamily="18" charset="0"/>
          </a:endParaRPr>
        </a:p>
      </dgm:t>
    </dgm:pt>
    <dgm:pt modelId="{ED8E7C84-99E4-4E79-A22C-DB26A90E51A4}">
      <dgm:prSet custT="1"/>
      <dgm:spPr/>
      <dgm:t>
        <a:bodyPr/>
        <a:lstStyle/>
        <a:p>
          <a:r>
            <a:rPr lang="en-US" sz="1400" b="0" dirty="0">
              <a:latin typeface="Gill Sans"/>
              <a:ea typeface="Cambria" panose="02040503050406030204" pitchFamily="18" charset="0"/>
            </a:rPr>
            <a:t>Only fixed-term academic faculty who have active appointments on the day of data snapshot are reflected in the online renewal tool. If you need to renew an inactive employee, please speak with your HRSP. </a:t>
          </a:r>
        </a:p>
      </dgm:t>
    </dgm:pt>
    <dgm:pt modelId="{04624AFA-75C8-456A-BFCF-32C3A1D9AD37}" type="parTrans" cxnId="{BE409C39-9811-4133-BEFD-5B53AA4731D4}">
      <dgm:prSet/>
      <dgm:spPr/>
      <dgm:t>
        <a:bodyPr/>
        <a:lstStyle/>
        <a:p>
          <a:endParaRPr lang="en-US" sz="1400">
            <a:latin typeface="Gill Sans"/>
          </a:endParaRPr>
        </a:p>
      </dgm:t>
    </dgm:pt>
    <dgm:pt modelId="{D91B471E-322E-42EC-B046-E4EA7236787E}" type="sibTrans" cxnId="{BE409C39-9811-4133-BEFD-5B53AA4731D4}">
      <dgm:prSet/>
      <dgm:spPr/>
      <dgm:t>
        <a:bodyPr/>
        <a:lstStyle/>
        <a:p>
          <a:endParaRPr lang="en-US" sz="1400">
            <a:latin typeface="Gill Sans"/>
          </a:endParaRPr>
        </a:p>
      </dgm:t>
    </dgm:pt>
    <dgm:pt modelId="{BD7477F5-7286-4304-A7C7-11708B3E26C6}">
      <dgm:prSet custT="1"/>
      <dgm:spPr/>
      <dgm:t>
        <a:bodyPr/>
        <a:lstStyle/>
        <a:p>
          <a:r>
            <a:rPr lang="en-US" sz="1400" b="1" dirty="0">
              <a:latin typeface="Gill Sans"/>
              <a:ea typeface="Cambria" panose="02040503050406030204" pitchFamily="18" charset="0"/>
            </a:rPr>
            <a:t>Changes to renewal decisions after the deadline</a:t>
          </a:r>
        </a:p>
      </dgm:t>
    </dgm:pt>
    <dgm:pt modelId="{3FF1DCAC-24B9-4F47-9818-EE543A1C6BB2}" type="parTrans" cxnId="{128447E7-EADA-40EE-93D1-00FFFC6EE890}">
      <dgm:prSet/>
      <dgm:spPr/>
      <dgm:t>
        <a:bodyPr/>
        <a:lstStyle/>
        <a:p>
          <a:endParaRPr lang="en-US" sz="1400">
            <a:latin typeface="Gill Sans"/>
          </a:endParaRPr>
        </a:p>
      </dgm:t>
    </dgm:pt>
    <dgm:pt modelId="{58522BA9-14D1-4C0D-B4F7-7CD3357AB7DD}" type="sibTrans" cxnId="{128447E7-EADA-40EE-93D1-00FFFC6EE890}">
      <dgm:prSet/>
      <dgm:spPr/>
      <dgm:t>
        <a:bodyPr/>
        <a:lstStyle/>
        <a:p>
          <a:endParaRPr lang="en-US" sz="1400">
            <a:latin typeface="Gill Sans"/>
          </a:endParaRPr>
        </a:p>
      </dgm:t>
    </dgm:pt>
    <dgm:pt modelId="{99A91B66-7A61-4CCA-B2A5-BBB64F79801C}">
      <dgm:prSet custT="1"/>
      <dgm:spPr/>
      <dgm:t>
        <a:bodyPr/>
        <a:lstStyle/>
        <a:p>
          <a:r>
            <a:rPr lang="en-US" sz="1400" b="0" dirty="0">
              <a:latin typeface="Gill Sans"/>
              <a:ea typeface="Cambria" panose="02040503050406030204" pitchFamily="18" charset="0"/>
            </a:rPr>
            <a:t>Once your decision is approved, the employee’s Banner record will be updated and a Notice of Appointment will be issued. </a:t>
          </a:r>
        </a:p>
      </dgm:t>
    </dgm:pt>
    <dgm:pt modelId="{60644CBE-77E7-43EE-93BD-6C8D4C0B1F05}" type="parTrans" cxnId="{1E9AA4BE-75FA-411C-BA8E-CE40F75A3C52}">
      <dgm:prSet/>
      <dgm:spPr/>
      <dgm:t>
        <a:bodyPr/>
        <a:lstStyle/>
        <a:p>
          <a:endParaRPr lang="en-US" sz="1400">
            <a:latin typeface="Gill Sans"/>
          </a:endParaRPr>
        </a:p>
      </dgm:t>
    </dgm:pt>
    <dgm:pt modelId="{387D885F-61E7-408B-9752-4525D772D9B8}" type="sibTrans" cxnId="{1E9AA4BE-75FA-411C-BA8E-CE40F75A3C52}">
      <dgm:prSet/>
      <dgm:spPr/>
      <dgm:t>
        <a:bodyPr/>
        <a:lstStyle/>
        <a:p>
          <a:endParaRPr lang="en-US" sz="1400">
            <a:latin typeface="Gill Sans"/>
          </a:endParaRPr>
        </a:p>
      </dgm:t>
    </dgm:pt>
    <dgm:pt modelId="{0A20FD42-DBA1-497B-AF11-E69346299213}">
      <dgm:prSet custT="1"/>
      <dgm:spPr/>
      <dgm:t>
        <a:bodyPr/>
        <a:lstStyle/>
        <a:p>
          <a:r>
            <a:rPr lang="en-US" sz="1400" b="0" dirty="0">
              <a:latin typeface="Gill Sans"/>
              <a:ea typeface="Cambria" panose="02040503050406030204" pitchFamily="18" charset="0"/>
            </a:rPr>
            <a:t>The more changes made after the deadline, the more likely it is that human error will occur. We all want this process to be accurate and timely, for your department and to show respect for the employee.</a:t>
          </a:r>
        </a:p>
      </dgm:t>
    </dgm:pt>
    <dgm:pt modelId="{FD882DFD-EF51-4B67-AB68-0079706E30B0}" type="parTrans" cxnId="{5CD880C8-4B86-448C-B10A-39FFA0699B9A}">
      <dgm:prSet/>
      <dgm:spPr/>
      <dgm:t>
        <a:bodyPr/>
        <a:lstStyle/>
        <a:p>
          <a:endParaRPr lang="en-US" sz="1400">
            <a:latin typeface="Gill Sans"/>
          </a:endParaRPr>
        </a:p>
      </dgm:t>
    </dgm:pt>
    <dgm:pt modelId="{22702BD0-BB1E-4B5E-B1A7-C83A9EBEB922}" type="sibTrans" cxnId="{5CD880C8-4B86-448C-B10A-39FFA0699B9A}">
      <dgm:prSet/>
      <dgm:spPr/>
      <dgm:t>
        <a:bodyPr/>
        <a:lstStyle/>
        <a:p>
          <a:endParaRPr lang="en-US" sz="1400">
            <a:latin typeface="Gill Sans"/>
          </a:endParaRPr>
        </a:p>
      </dgm:t>
    </dgm:pt>
    <dgm:pt modelId="{AD962F65-65E2-4F7F-98BD-AFA1EF794A48}">
      <dgm:prSet custT="1"/>
      <dgm:spPr/>
      <dgm:t>
        <a:bodyPr/>
        <a:lstStyle/>
        <a:p>
          <a:r>
            <a:rPr lang="en-US" sz="1400" dirty="0">
              <a:latin typeface="Gill Sans"/>
              <a:ea typeface="Cambria" panose="02040503050406030204" pitchFamily="18" charset="0"/>
            </a:rPr>
            <a:t>If you need to change FTE, mark as “</a:t>
          </a:r>
          <a:r>
            <a:rPr lang="en-US" sz="1400" b="1" dirty="0">
              <a:latin typeface="Gill Sans"/>
              <a:ea typeface="Cambria" panose="02040503050406030204" pitchFamily="18" charset="0"/>
            </a:rPr>
            <a:t>uncertain</a:t>
          </a:r>
          <a:r>
            <a:rPr lang="en-US" sz="1400" dirty="0">
              <a:latin typeface="Gill Sans"/>
              <a:ea typeface="Cambria" panose="02040503050406030204" pitchFamily="18" charset="0"/>
            </a:rPr>
            <a:t>” and create a note following HRSP guidance in the notes section, and be aware that the request will be processed manually.</a:t>
          </a:r>
        </a:p>
      </dgm:t>
    </dgm:pt>
    <dgm:pt modelId="{09336DFB-FA92-429C-9FF5-2DD1F44220D1}" type="parTrans" cxnId="{20DC4DCF-847A-4062-A1CA-FE60EB9AE90D}">
      <dgm:prSet/>
      <dgm:spPr/>
      <dgm:t>
        <a:bodyPr/>
        <a:lstStyle/>
        <a:p>
          <a:endParaRPr lang="en-US" sz="1400">
            <a:latin typeface="Gill Sans"/>
          </a:endParaRPr>
        </a:p>
      </dgm:t>
    </dgm:pt>
    <dgm:pt modelId="{F542C522-45A8-4705-BA29-4A607186659F}" type="sibTrans" cxnId="{20DC4DCF-847A-4062-A1CA-FE60EB9AE90D}">
      <dgm:prSet/>
      <dgm:spPr/>
      <dgm:t>
        <a:bodyPr/>
        <a:lstStyle/>
        <a:p>
          <a:endParaRPr lang="en-US" sz="1400">
            <a:latin typeface="Gill Sans"/>
          </a:endParaRPr>
        </a:p>
      </dgm:t>
    </dgm:pt>
    <dgm:pt modelId="{224476CC-586A-41A5-AA3D-5979FD8D8FC2}">
      <dgm:prSet custT="1"/>
      <dgm:spPr/>
      <dgm:t>
        <a:bodyPr/>
        <a:lstStyle/>
        <a:p>
          <a:r>
            <a:rPr lang="en-US" sz="1400" b="1" dirty="0">
              <a:latin typeface="Gill Sans"/>
              <a:ea typeface="Cambria" panose="02040503050406030204" pitchFamily="18" charset="0"/>
            </a:rPr>
            <a:t>Your department needs to know what was recorded</a:t>
          </a:r>
        </a:p>
      </dgm:t>
    </dgm:pt>
    <dgm:pt modelId="{1F7961D3-32DE-4939-951E-A64122DF6073}" type="parTrans" cxnId="{AE4C52F7-58EE-40E7-B860-1A98F292AC77}">
      <dgm:prSet/>
      <dgm:spPr/>
      <dgm:t>
        <a:bodyPr/>
        <a:lstStyle/>
        <a:p>
          <a:endParaRPr lang="en-US" sz="1400">
            <a:latin typeface="Gill Sans"/>
          </a:endParaRPr>
        </a:p>
      </dgm:t>
    </dgm:pt>
    <dgm:pt modelId="{805976A4-50C8-4B6D-BEBD-1FBEB33A5ECF}" type="sibTrans" cxnId="{AE4C52F7-58EE-40E7-B860-1A98F292AC77}">
      <dgm:prSet/>
      <dgm:spPr/>
      <dgm:t>
        <a:bodyPr/>
        <a:lstStyle/>
        <a:p>
          <a:endParaRPr lang="en-US" sz="1400">
            <a:latin typeface="Gill Sans"/>
          </a:endParaRPr>
        </a:p>
      </dgm:t>
    </dgm:pt>
    <dgm:pt modelId="{E7E89747-08D8-4691-98FC-2F764AF8958C}">
      <dgm:prSet custT="1"/>
      <dgm:spPr/>
      <dgm:t>
        <a:bodyPr/>
        <a:lstStyle/>
        <a:p>
          <a:r>
            <a:rPr lang="en-US" sz="1400" b="0" dirty="0">
              <a:latin typeface="Gill Sans"/>
              <a:ea typeface="Cambria" panose="02040503050406030204" pitchFamily="18" charset="0"/>
            </a:rPr>
            <a:t>All users have the ability to download their data. We suggest downloading in CSV format, which is easily manipulated in Excel.</a:t>
          </a:r>
        </a:p>
      </dgm:t>
    </dgm:pt>
    <dgm:pt modelId="{1AF388EA-61F3-424B-8D0D-3EB85EB16FC3}" type="parTrans" cxnId="{F9451D4B-3FDF-4F6C-B68B-5625701BD9BB}">
      <dgm:prSet/>
      <dgm:spPr/>
      <dgm:t>
        <a:bodyPr/>
        <a:lstStyle/>
        <a:p>
          <a:endParaRPr lang="en-US" sz="1400">
            <a:latin typeface="Gill Sans"/>
          </a:endParaRPr>
        </a:p>
      </dgm:t>
    </dgm:pt>
    <dgm:pt modelId="{93949555-3068-4767-BEA9-7F8C1F752149}" type="sibTrans" cxnId="{F9451D4B-3FDF-4F6C-B68B-5625701BD9BB}">
      <dgm:prSet/>
      <dgm:spPr/>
      <dgm:t>
        <a:bodyPr/>
        <a:lstStyle/>
        <a:p>
          <a:endParaRPr lang="en-US" sz="1400">
            <a:latin typeface="Gill Sans"/>
          </a:endParaRPr>
        </a:p>
      </dgm:t>
    </dgm:pt>
    <dgm:pt modelId="{DF1DAB27-4506-45C0-A07D-0DA109C16024}">
      <dgm:prSet custT="1"/>
      <dgm:spPr/>
      <dgm:t>
        <a:bodyPr/>
        <a:lstStyle/>
        <a:p>
          <a:r>
            <a:rPr lang="en-US" sz="1400" b="0" dirty="0">
              <a:latin typeface="Gill Sans"/>
              <a:ea typeface="Cambria" panose="02040503050406030204" pitchFamily="18" charset="0"/>
            </a:rPr>
            <a:t>Please download on or before April 28</a:t>
          </a:r>
          <a:r>
            <a:rPr lang="en-US" sz="1400" b="0" baseline="30000" dirty="0">
              <a:latin typeface="Gill Sans"/>
              <a:ea typeface="Cambria" panose="02040503050406030204" pitchFamily="18" charset="0"/>
            </a:rPr>
            <a:t>th</a:t>
          </a:r>
          <a:r>
            <a:rPr lang="en-US" sz="1400" b="0" dirty="0">
              <a:latin typeface="Gill Sans"/>
              <a:ea typeface="Cambria" panose="02040503050406030204" pitchFamily="18" charset="0"/>
            </a:rPr>
            <a:t>, 2026. </a:t>
          </a:r>
        </a:p>
      </dgm:t>
    </dgm:pt>
    <dgm:pt modelId="{79787E4B-442B-44BE-94CB-04F9B3012CE3}" type="parTrans" cxnId="{E29D82F6-E26D-4569-97C7-480408CDD1CC}">
      <dgm:prSet/>
      <dgm:spPr/>
      <dgm:t>
        <a:bodyPr/>
        <a:lstStyle/>
        <a:p>
          <a:endParaRPr lang="en-US" sz="1400">
            <a:latin typeface="Gill Sans"/>
          </a:endParaRPr>
        </a:p>
      </dgm:t>
    </dgm:pt>
    <dgm:pt modelId="{006D5D3C-4ED2-4E4A-A079-9855473F788B}" type="sibTrans" cxnId="{E29D82F6-E26D-4569-97C7-480408CDD1CC}">
      <dgm:prSet/>
      <dgm:spPr/>
      <dgm:t>
        <a:bodyPr/>
        <a:lstStyle/>
        <a:p>
          <a:endParaRPr lang="en-US" sz="1400">
            <a:latin typeface="Gill Sans"/>
          </a:endParaRPr>
        </a:p>
      </dgm:t>
    </dgm:pt>
    <dgm:pt modelId="{E34CAE82-2DE3-4B2C-A82C-1B05F95A16B0}">
      <dgm:prSet custT="1"/>
      <dgm:spPr/>
      <dgm:t>
        <a:bodyPr/>
        <a:lstStyle/>
        <a:p>
          <a:r>
            <a:rPr lang="en-US" sz="1400" b="0" dirty="0">
              <a:latin typeface="Gill Sans"/>
              <a:ea typeface="Cambria" panose="02040503050406030204" pitchFamily="18" charset="0"/>
            </a:rPr>
            <a:t>If you make a decision after the deadline, inform your HRSP. </a:t>
          </a:r>
        </a:p>
      </dgm:t>
    </dgm:pt>
    <dgm:pt modelId="{4C005011-6D60-4317-87D1-1DA92ED2A017}" type="parTrans" cxnId="{5B28A6CB-32D7-4483-BAD2-B6CD6AD9F890}">
      <dgm:prSet/>
      <dgm:spPr/>
      <dgm:t>
        <a:bodyPr/>
        <a:lstStyle/>
        <a:p>
          <a:endParaRPr lang="en-US" sz="1400">
            <a:latin typeface="Gill Sans"/>
          </a:endParaRPr>
        </a:p>
      </dgm:t>
    </dgm:pt>
    <dgm:pt modelId="{049E3138-E0CD-4255-B09C-7ECC2044C04D}" type="sibTrans" cxnId="{5B28A6CB-32D7-4483-BAD2-B6CD6AD9F890}">
      <dgm:prSet/>
      <dgm:spPr/>
      <dgm:t>
        <a:bodyPr/>
        <a:lstStyle/>
        <a:p>
          <a:endParaRPr lang="en-US" sz="1400">
            <a:latin typeface="Gill Sans"/>
          </a:endParaRPr>
        </a:p>
      </dgm:t>
    </dgm:pt>
    <dgm:pt modelId="{143A64CF-333B-42C9-BBD7-41E0BDA9A666}">
      <dgm:prSet custT="1"/>
      <dgm:spPr/>
      <dgm:t>
        <a:bodyPr/>
        <a:lstStyle/>
        <a:p>
          <a:r>
            <a:rPr lang="en-US" sz="1400" b="0" dirty="0">
              <a:latin typeface="Gill Sans"/>
              <a:ea typeface="Cambria" panose="02040503050406030204" pitchFamily="18" charset="0"/>
            </a:rPr>
            <a:t>The person you are thinking of may not hold a fixed-term academic faculty appointment. Talk with your HRSP.</a:t>
          </a:r>
        </a:p>
      </dgm:t>
    </dgm:pt>
    <dgm:pt modelId="{C64FADE0-7AD9-4B49-A688-D1426CCFA8CF}" type="parTrans" cxnId="{3711EE55-F0E6-41C8-9D1A-1FB0768D3E20}">
      <dgm:prSet/>
      <dgm:spPr/>
      <dgm:t>
        <a:bodyPr/>
        <a:lstStyle/>
        <a:p>
          <a:endParaRPr lang="en-US" sz="1400">
            <a:latin typeface="Gill Sans"/>
          </a:endParaRPr>
        </a:p>
      </dgm:t>
    </dgm:pt>
    <dgm:pt modelId="{E33FE6F5-8310-4B04-846C-CC1ABFEA0180}" type="sibTrans" cxnId="{3711EE55-F0E6-41C8-9D1A-1FB0768D3E20}">
      <dgm:prSet/>
      <dgm:spPr/>
      <dgm:t>
        <a:bodyPr/>
        <a:lstStyle/>
        <a:p>
          <a:endParaRPr lang="en-US" sz="1400">
            <a:latin typeface="Gill Sans"/>
          </a:endParaRPr>
        </a:p>
      </dgm:t>
    </dgm:pt>
    <dgm:pt modelId="{66BE8D36-0BF7-4A1E-BD78-43271B2CFAEC}">
      <dgm:prSet custT="1"/>
      <dgm:spPr/>
      <dgm:t>
        <a:bodyPr/>
        <a:lstStyle/>
        <a:p>
          <a:r>
            <a:rPr lang="en-US" sz="1400" b="0" dirty="0">
              <a:latin typeface="Gill Sans"/>
              <a:ea typeface="Cambria" panose="02040503050406030204" pitchFamily="18" charset="0"/>
            </a:rPr>
            <a:t>Your HRSP or your department can run a list of inactive employees to ensure no one is missed.</a:t>
          </a:r>
        </a:p>
      </dgm:t>
    </dgm:pt>
    <dgm:pt modelId="{BBFC6931-8E8A-45CE-A909-9CD4D107C6E1}" type="parTrans" cxnId="{56F06DF8-62E0-45E3-A871-4B2F4744810E}">
      <dgm:prSet/>
      <dgm:spPr/>
      <dgm:t>
        <a:bodyPr/>
        <a:lstStyle/>
        <a:p>
          <a:endParaRPr lang="en-US" sz="1400">
            <a:latin typeface="Gill Sans"/>
          </a:endParaRPr>
        </a:p>
      </dgm:t>
    </dgm:pt>
    <dgm:pt modelId="{01B13A40-D181-47CE-ABED-BA6A3D06EE93}" type="sibTrans" cxnId="{56F06DF8-62E0-45E3-A871-4B2F4744810E}">
      <dgm:prSet/>
      <dgm:spPr/>
      <dgm:t>
        <a:bodyPr/>
        <a:lstStyle/>
        <a:p>
          <a:endParaRPr lang="en-US" sz="1400">
            <a:latin typeface="Gill Sans"/>
          </a:endParaRPr>
        </a:p>
      </dgm:t>
    </dgm:pt>
    <dgm:pt modelId="{5C1604DD-6E73-4906-A62D-E796D4125C9E}" type="pres">
      <dgm:prSet presAssocID="{74E6D967-5D9A-4699-9984-C06882FC6689}" presName="linear" presStyleCnt="0">
        <dgm:presLayoutVars>
          <dgm:dir/>
          <dgm:animLvl val="lvl"/>
          <dgm:resizeHandles val="exact"/>
        </dgm:presLayoutVars>
      </dgm:prSet>
      <dgm:spPr/>
    </dgm:pt>
    <dgm:pt modelId="{A6966E8C-825E-44A3-AF8D-8F950EF92794}" type="pres">
      <dgm:prSet presAssocID="{13A87313-E30F-44B6-9D55-7EDBB0FE834D}" presName="parentLin" presStyleCnt="0"/>
      <dgm:spPr/>
    </dgm:pt>
    <dgm:pt modelId="{05EAC601-3007-4B3E-BF2A-3CB05ABBD72C}" type="pres">
      <dgm:prSet presAssocID="{13A87313-E30F-44B6-9D55-7EDBB0FE834D}" presName="parentLeftMargin" presStyleLbl="node1" presStyleIdx="0" presStyleCnt="4"/>
      <dgm:spPr/>
    </dgm:pt>
    <dgm:pt modelId="{06FD7A0E-C511-4D06-83FD-8C0955670AE9}" type="pres">
      <dgm:prSet presAssocID="{13A87313-E30F-44B6-9D55-7EDBB0FE834D}" presName="parentText" presStyleLbl="node1" presStyleIdx="0" presStyleCnt="4">
        <dgm:presLayoutVars>
          <dgm:chMax val="0"/>
          <dgm:bulletEnabled val="1"/>
        </dgm:presLayoutVars>
      </dgm:prSet>
      <dgm:spPr/>
    </dgm:pt>
    <dgm:pt modelId="{A829C98D-CDCF-4C44-90DC-B9D79F8F709E}" type="pres">
      <dgm:prSet presAssocID="{13A87313-E30F-44B6-9D55-7EDBB0FE834D}" presName="negativeSpace" presStyleCnt="0"/>
      <dgm:spPr/>
    </dgm:pt>
    <dgm:pt modelId="{5AAC7875-BF9C-438D-AF37-083F2F4ADAB2}" type="pres">
      <dgm:prSet presAssocID="{13A87313-E30F-44B6-9D55-7EDBB0FE834D}" presName="childText" presStyleLbl="conFgAcc1" presStyleIdx="0" presStyleCnt="4">
        <dgm:presLayoutVars>
          <dgm:bulletEnabled val="1"/>
        </dgm:presLayoutVars>
      </dgm:prSet>
      <dgm:spPr/>
    </dgm:pt>
    <dgm:pt modelId="{68A4E5CD-CCD7-493D-8CB6-0FCBEFD4A361}" type="pres">
      <dgm:prSet presAssocID="{A9381D54-C186-4593-B7DF-477D9FF32F87}" presName="spaceBetweenRectangles" presStyleCnt="0"/>
      <dgm:spPr/>
    </dgm:pt>
    <dgm:pt modelId="{E7895CF9-305D-439F-81C1-7422B57CC2FE}" type="pres">
      <dgm:prSet presAssocID="{E6492FC6-1B27-4978-9BEE-79806263EA37}" presName="parentLin" presStyleCnt="0"/>
      <dgm:spPr/>
    </dgm:pt>
    <dgm:pt modelId="{7C164ABA-1D43-43B3-95BF-08BD650B3091}" type="pres">
      <dgm:prSet presAssocID="{E6492FC6-1B27-4978-9BEE-79806263EA37}" presName="parentLeftMargin" presStyleLbl="node1" presStyleIdx="0" presStyleCnt="4"/>
      <dgm:spPr/>
    </dgm:pt>
    <dgm:pt modelId="{3EDB118E-7CCD-4175-81E0-8BF649098DE9}" type="pres">
      <dgm:prSet presAssocID="{E6492FC6-1B27-4978-9BEE-79806263EA37}" presName="parentText" presStyleLbl="node1" presStyleIdx="1" presStyleCnt="4">
        <dgm:presLayoutVars>
          <dgm:chMax val="0"/>
          <dgm:bulletEnabled val="1"/>
        </dgm:presLayoutVars>
      </dgm:prSet>
      <dgm:spPr/>
    </dgm:pt>
    <dgm:pt modelId="{2758D860-03F4-4314-BC8F-C0261C0F7C3B}" type="pres">
      <dgm:prSet presAssocID="{E6492FC6-1B27-4978-9BEE-79806263EA37}" presName="negativeSpace" presStyleCnt="0"/>
      <dgm:spPr/>
    </dgm:pt>
    <dgm:pt modelId="{DFC23F17-65DD-4A51-9512-BBDD3E41F707}" type="pres">
      <dgm:prSet presAssocID="{E6492FC6-1B27-4978-9BEE-79806263EA37}" presName="childText" presStyleLbl="conFgAcc1" presStyleIdx="1" presStyleCnt="4">
        <dgm:presLayoutVars>
          <dgm:bulletEnabled val="1"/>
        </dgm:presLayoutVars>
      </dgm:prSet>
      <dgm:spPr/>
    </dgm:pt>
    <dgm:pt modelId="{04DE98D1-E212-4423-9D96-239E2AB7C873}" type="pres">
      <dgm:prSet presAssocID="{ACB98F10-5671-4D3A-AAF7-9B8F91972D0B}" presName="spaceBetweenRectangles" presStyleCnt="0"/>
      <dgm:spPr/>
    </dgm:pt>
    <dgm:pt modelId="{1F9FA2A2-53A0-40E6-9EC3-8F1DDB8BE932}" type="pres">
      <dgm:prSet presAssocID="{BD7477F5-7286-4304-A7C7-11708B3E26C6}" presName="parentLin" presStyleCnt="0"/>
      <dgm:spPr/>
    </dgm:pt>
    <dgm:pt modelId="{18DDA855-0770-4274-8C66-C2E0C780B3FB}" type="pres">
      <dgm:prSet presAssocID="{BD7477F5-7286-4304-A7C7-11708B3E26C6}" presName="parentLeftMargin" presStyleLbl="node1" presStyleIdx="1" presStyleCnt="4"/>
      <dgm:spPr/>
    </dgm:pt>
    <dgm:pt modelId="{A582BE4D-A4FB-41DE-9171-DC1C1686E4C1}" type="pres">
      <dgm:prSet presAssocID="{BD7477F5-7286-4304-A7C7-11708B3E26C6}" presName="parentText" presStyleLbl="node1" presStyleIdx="2" presStyleCnt="4">
        <dgm:presLayoutVars>
          <dgm:chMax val="0"/>
          <dgm:bulletEnabled val="1"/>
        </dgm:presLayoutVars>
      </dgm:prSet>
      <dgm:spPr/>
    </dgm:pt>
    <dgm:pt modelId="{51B31F10-DADF-467D-A73F-286B94D36C25}" type="pres">
      <dgm:prSet presAssocID="{BD7477F5-7286-4304-A7C7-11708B3E26C6}" presName="negativeSpace" presStyleCnt="0"/>
      <dgm:spPr/>
    </dgm:pt>
    <dgm:pt modelId="{BD329902-8D3D-49FA-8569-C5FCEBE92D48}" type="pres">
      <dgm:prSet presAssocID="{BD7477F5-7286-4304-A7C7-11708B3E26C6}" presName="childText" presStyleLbl="conFgAcc1" presStyleIdx="2" presStyleCnt="4">
        <dgm:presLayoutVars>
          <dgm:bulletEnabled val="1"/>
        </dgm:presLayoutVars>
      </dgm:prSet>
      <dgm:spPr/>
    </dgm:pt>
    <dgm:pt modelId="{1E489AE8-01C9-4698-A27A-297728C542B3}" type="pres">
      <dgm:prSet presAssocID="{58522BA9-14D1-4C0D-B4F7-7CD3357AB7DD}" presName="spaceBetweenRectangles" presStyleCnt="0"/>
      <dgm:spPr/>
    </dgm:pt>
    <dgm:pt modelId="{52758CDB-1787-4E27-BADF-260B45C3F505}" type="pres">
      <dgm:prSet presAssocID="{224476CC-586A-41A5-AA3D-5979FD8D8FC2}" presName="parentLin" presStyleCnt="0"/>
      <dgm:spPr/>
    </dgm:pt>
    <dgm:pt modelId="{8F8BA42F-5783-4C9B-AC3F-E1EF735CB8BD}" type="pres">
      <dgm:prSet presAssocID="{224476CC-586A-41A5-AA3D-5979FD8D8FC2}" presName="parentLeftMargin" presStyleLbl="node1" presStyleIdx="2" presStyleCnt="4"/>
      <dgm:spPr/>
    </dgm:pt>
    <dgm:pt modelId="{B2261305-E3C2-4DEA-9B09-084FDC1551E8}" type="pres">
      <dgm:prSet presAssocID="{224476CC-586A-41A5-AA3D-5979FD8D8FC2}" presName="parentText" presStyleLbl="node1" presStyleIdx="3" presStyleCnt="4">
        <dgm:presLayoutVars>
          <dgm:chMax val="0"/>
          <dgm:bulletEnabled val="1"/>
        </dgm:presLayoutVars>
      </dgm:prSet>
      <dgm:spPr/>
    </dgm:pt>
    <dgm:pt modelId="{5871A78B-4794-4F9B-87A7-02AE01B397AC}" type="pres">
      <dgm:prSet presAssocID="{224476CC-586A-41A5-AA3D-5979FD8D8FC2}" presName="negativeSpace" presStyleCnt="0"/>
      <dgm:spPr/>
    </dgm:pt>
    <dgm:pt modelId="{B4F55807-8DF2-45D8-8BFA-2797E1D0A494}" type="pres">
      <dgm:prSet presAssocID="{224476CC-586A-41A5-AA3D-5979FD8D8FC2}" presName="childText" presStyleLbl="conFgAcc1" presStyleIdx="3" presStyleCnt="4">
        <dgm:presLayoutVars>
          <dgm:bulletEnabled val="1"/>
        </dgm:presLayoutVars>
      </dgm:prSet>
      <dgm:spPr/>
    </dgm:pt>
  </dgm:ptLst>
  <dgm:cxnLst>
    <dgm:cxn modelId="{AC483302-B8E7-4E43-869B-A20C368ADA25}" type="presOf" srcId="{E7E89747-08D8-4691-98FC-2F764AF8958C}" destId="{B4F55807-8DF2-45D8-8BFA-2797E1D0A494}" srcOrd="0" destOrd="0" presId="urn:microsoft.com/office/officeart/2005/8/layout/list1"/>
    <dgm:cxn modelId="{EDC72C04-33ED-4BF8-8342-98A225BD8331}" type="presOf" srcId="{26A4243B-E386-40F9-9FB4-46A0CCF44EBE}" destId="{5AAC7875-BF9C-438D-AF37-083F2F4ADAB2}" srcOrd="0" destOrd="0" presId="urn:microsoft.com/office/officeart/2005/8/layout/list1"/>
    <dgm:cxn modelId="{BDDC6D11-E6E1-4941-9D80-3C487B19D279}" type="presOf" srcId="{74E6D967-5D9A-4699-9984-C06882FC6689}" destId="{5C1604DD-6E73-4906-A62D-E796D4125C9E}" srcOrd="0" destOrd="0" presId="urn:microsoft.com/office/officeart/2005/8/layout/list1"/>
    <dgm:cxn modelId="{850A3B23-D972-4315-B35B-C3C860B05D77}" type="presOf" srcId="{DF1DAB27-4506-45C0-A07D-0DA109C16024}" destId="{B4F55807-8DF2-45D8-8BFA-2797E1D0A494}" srcOrd="0" destOrd="1" presId="urn:microsoft.com/office/officeart/2005/8/layout/list1"/>
    <dgm:cxn modelId="{58FCA82D-46C2-4419-A291-6D242FBA31E6}" type="presOf" srcId="{E6492FC6-1B27-4978-9BEE-79806263EA37}" destId="{7C164ABA-1D43-43B3-95BF-08BD650B3091}" srcOrd="0" destOrd="0" presId="urn:microsoft.com/office/officeart/2005/8/layout/list1"/>
    <dgm:cxn modelId="{2E7E9630-8FEA-494E-9A20-9166E47A66CA}" type="presOf" srcId="{ED8E7C84-99E4-4E79-A22C-DB26A90E51A4}" destId="{DFC23F17-65DD-4A51-9512-BBDD3E41F707}" srcOrd="0" destOrd="0" presId="urn:microsoft.com/office/officeart/2005/8/layout/list1"/>
    <dgm:cxn modelId="{BE409C39-9811-4133-BEFD-5B53AA4731D4}" srcId="{E6492FC6-1B27-4978-9BEE-79806263EA37}" destId="{ED8E7C84-99E4-4E79-A22C-DB26A90E51A4}" srcOrd="0" destOrd="0" parTransId="{04624AFA-75C8-456A-BFCF-32C3A1D9AD37}" sibTransId="{D91B471E-322E-42EC-B046-E4EA7236787E}"/>
    <dgm:cxn modelId="{622BA844-5EBE-45B0-9241-3C2AF2D271B7}" srcId="{74E6D967-5D9A-4699-9984-C06882FC6689}" destId="{13A87313-E30F-44B6-9D55-7EDBB0FE834D}" srcOrd="0" destOrd="0" parTransId="{FAF06A21-5849-435D-942E-E94A8027BC34}" sibTransId="{A9381D54-C186-4593-B7DF-477D9FF32F87}"/>
    <dgm:cxn modelId="{46B27C67-D492-4C7E-A2D5-D24D9F3F180F}" type="presOf" srcId="{224476CC-586A-41A5-AA3D-5979FD8D8FC2}" destId="{B2261305-E3C2-4DEA-9B09-084FDC1551E8}" srcOrd="1" destOrd="0" presId="urn:microsoft.com/office/officeart/2005/8/layout/list1"/>
    <dgm:cxn modelId="{F9451D4B-3FDF-4F6C-B68B-5625701BD9BB}" srcId="{224476CC-586A-41A5-AA3D-5979FD8D8FC2}" destId="{E7E89747-08D8-4691-98FC-2F764AF8958C}" srcOrd="0" destOrd="0" parTransId="{1AF388EA-61F3-424B-8D0D-3EB85EB16FC3}" sibTransId="{93949555-3068-4767-BEA9-7F8C1F752149}"/>
    <dgm:cxn modelId="{D25B294F-8F85-4444-91AB-69C07E6B5ED4}" type="presOf" srcId="{99A91B66-7A61-4CCA-B2A5-BBB64F79801C}" destId="{BD329902-8D3D-49FA-8569-C5FCEBE92D48}" srcOrd="0" destOrd="1" presId="urn:microsoft.com/office/officeart/2005/8/layout/list1"/>
    <dgm:cxn modelId="{3711EE55-F0E6-41C8-9D1A-1FB0768D3E20}" srcId="{E6492FC6-1B27-4978-9BEE-79806263EA37}" destId="{143A64CF-333B-42C9-BBD7-41E0BDA9A666}" srcOrd="1" destOrd="0" parTransId="{C64FADE0-7AD9-4B49-A688-D1426CCFA8CF}" sibTransId="{E33FE6F5-8310-4B04-846C-CC1ABFEA0180}"/>
    <dgm:cxn modelId="{C23C2679-2DEC-4B77-996B-AA04AE2DF2D4}" type="presOf" srcId="{E6492FC6-1B27-4978-9BEE-79806263EA37}" destId="{3EDB118E-7CCD-4175-81E0-8BF649098DE9}" srcOrd="1" destOrd="0" presId="urn:microsoft.com/office/officeart/2005/8/layout/list1"/>
    <dgm:cxn modelId="{D2ED2780-241F-4750-A568-09B75066B091}" type="presOf" srcId="{66BE8D36-0BF7-4A1E-BD78-43271B2CFAEC}" destId="{DFC23F17-65DD-4A51-9512-BBDD3E41F707}" srcOrd="0" destOrd="2" presId="urn:microsoft.com/office/officeart/2005/8/layout/list1"/>
    <dgm:cxn modelId="{2BC7AE84-5669-46B5-A02D-D96B4E838DC1}" type="presOf" srcId="{143A64CF-333B-42C9-BBD7-41E0BDA9A666}" destId="{DFC23F17-65DD-4A51-9512-BBDD3E41F707}" srcOrd="0" destOrd="1" presId="urn:microsoft.com/office/officeart/2005/8/layout/list1"/>
    <dgm:cxn modelId="{98CBB99A-73D6-497D-9E2C-E20972911031}" type="presOf" srcId="{E34CAE82-2DE3-4B2C-A82C-1B05F95A16B0}" destId="{BD329902-8D3D-49FA-8569-C5FCEBE92D48}" srcOrd="0" destOrd="0" presId="urn:microsoft.com/office/officeart/2005/8/layout/list1"/>
    <dgm:cxn modelId="{62A5CA9D-DF19-458E-AE4F-39A221388A5F}" type="presOf" srcId="{AD962F65-65E2-4F7F-98BD-AFA1EF794A48}" destId="{5AAC7875-BF9C-438D-AF37-083F2F4ADAB2}" srcOrd="0" destOrd="1" presId="urn:microsoft.com/office/officeart/2005/8/layout/list1"/>
    <dgm:cxn modelId="{1037AEA7-7E62-442F-9DDD-D291BBAD1C71}" type="presOf" srcId="{13A87313-E30F-44B6-9D55-7EDBB0FE834D}" destId="{06FD7A0E-C511-4D06-83FD-8C0955670AE9}" srcOrd="1" destOrd="0" presId="urn:microsoft.com/office/officeart/2005/8/layout/list1"/>
    <dgm:cxn modelId="{DA5132A9-216C-4763-B646-2CB1E16A6B74}" type="presOf" srcId="{BD7477F5-7286-4304-A7C7-11708B3E26C6}" destId="{18DDA855-0770-4274-8C66-C2E0C780B3FB}" srcOrd="0" destOrd="0" presId="urn:microsoft.com/office/officeart/2005/8/layout/list1"/>
    <dgm:cxn modelId="{1E9AA4BE-75FA-411C-BA8E-CE40F75A3C52}" srcId="{BD7477F5-7286-4304-A7C7-11708B3E26C6}" destId="{99A91B66-7A61-4CCA-B2A5-BBB64F79801C}" srcOrd="1" destOrd="0" parTransId="{60644CBE-77E7-43EE-93BD-6C8D4C0B1F05}" sibTransId="{387D885F-61E7-408B-9752-4525D772D9B8}"/>
    <dgm:cxn modelId="{5CD880C8-4B86-448C-B10A-39FFA0699B9A}" srcId="{BD7477F5-7286-4304-A7C7-11708B3E26C6}" destId="{0A20FD42-DBA1-497B-AF11-E69346299213}" srcOrd="2" destOrd="0" parTransId="{FD882DFD-EF51-4B67-AB68-0079706E30B0}" sibTransId="{22702BD0-BB1E-4B5E-B1A7-C83A9EBEB922}"/>
    <dgm:cxn modelId="{FD5C51C9-333F-4341-AE66-DE757A8E0804}" type="presOf" srcId="{0A20FD42-DBA1-497B-AF11-E69346299213}" destId="{BD329902-8D3D-49FA-8569-C5FCEBE92D48}" srcOrd="0" destOrd="2" presId="urn:microsoft.com/office/officeart/2005/8/layout/list1"/>
    <dgm:cxn modelId="{5B28A6CB-32D7-4483-BAD2-B6CD6AD9F890}" srcId="{BD7477F5-7286-4304-A7C7-11708B3E26C6}" destId="{E34CAE82-2DE3-4B2C-A82C-1B05F95A16B0}" srcOrd="0" destOrd="0" parTransId="{4C005011-6D60-4317-87D1-1DA92ED2A017}" sibTransId="{049E3138-E0CD-4255-B09C-7ECC2044C04D}"/>
    <dgm:cxn modelId="{20DC4DCF-847A-4062-A1CA-FE60EB9AE90D}" srcId="{13A87313-E30F-44B6-9D55-7EDBB0FE834D}" destId="{AD962F65-65E2-4F7F-98BD-AFA1EF794A48}" srcOrd="1" destOrd="0" parTransId="{09336DFB-FA92-429C-9FF5-2DD1F44220D1}" sibTransId="{F542C522-45A8-4705-BA29-4A607186659F}"/>
    <dgm:cxn modelId="{24AA9FE5-E11D-4BDE-94FB-B251D713B8CC}" type="presOf" srcId="{224476CC-586A-41A5-AA3D-5979FD8D8FC2}" destId="{8F8BA42F-5783-4C9B-AC3F-E1EF735CB8BD}" srcOrd="0" destOrd="0" presId="urn:microsoft.com/office/officeart/2005/8/layout/list1"/>
    <dgm:cxn modelId="{128447E7-EADA-40EE-93D1-00FFFC6EE890}" srcId="{74E6D967-5D9A-4699-9984-C06882FC6689}" destId="{BD7477F5-7286-4304-A7C7-11708B3E26C6}" srcOrd="2" destOrd="0" parTransId="{3FF1DCAC-24B9-4F47-9818-EE543A1C6BB2}" sibTransId="{58522BA9-14D1-4C0D-B4F7-7CD3357AB7DD}"/>
    <dgm:cxn modelId="{9C0A67F1-51AD-46B9-976F-0EC4EF5D73E5}" srcId="{74E6D967-5D9A-4699-9984-C06882FC6689}" destId="{E6492FC6-1B27-4978-9BEE-79806263EA37}" srcOrd="1" destOrd="0" parTransId="{CB319F1F-0CC3-4683-A98E-ADCE08751EAB}" sibTransId="{ACB98F10-5671-4D3A-AAF7-9B8F91972D0B}"/>
    <dgm:cxn modelId="{3C07C8F4-25C0-47F4-95B8-DBD3D96CB445}" srcId="{13A87313-E30F-44B6-9D55-7EDBB0FE834D}" destId="{26A4243B-E386-40F9-9FB4-46A0CCF44EBE}" srcOrd="0" destOrd="0" parTransId="{EEC23CB5-314F-4DE7-8F62-99459CC70685}" sibTransId="{551718AE-F293-45C5-BF30-138E5FDA41C3}"/>
    <dgm:cxn modelId="{E29D82F6-E26D-4569-97C7-480408CDD1CC}" srcId="{224476CC-586A-41A5-AA3D-5979FD8D8FC2}" destId="{DF1DAB27-4506-45C0-A07D-0DA109C16024}" srcOrd="1" destOrd="0" parTransId="{79787E4B-442B-44BE-94CB-04F9B3012CE3}" sibTransId="{006D5D3C-4ED2-4E4A-A079-9855473F788B}"/>
    <dgm:cxn modelId="{AE4C52F7-58EE-40E7-B860-1A98F292AC77}" srcId="{74E6D967-5D9A-4699-9984-C06882FC6689}" destId="{224476CC-586A-41A5-AA3D-5979FD8D8FC2}" srcOrd="3" destOrd="0" parTransId="{1F7961D3-32DE-4939-951E-A64122DF6073}" sibTransId="{805976A4-50C8-4B6D-BEBD-1FBEB33A5ECF}"/>
    <dgm:cxn modelId="{56F06DF8-62E0-45E3-A871-4B2F4744810E}" srcId="{E6492FC6-1B27-4978-9BEE-79806263EA37}" destId="{66BE8D36-0BF7-4A1E-BD78-43271B2CFAEC}" srcOrd="2" destOrd="0" parTransId="{BBFC6931-8E8A-45CE-A909-9CD4D107C6E1}" sibTransId="{01B13A40-D181-47CE-ABED-BA6A3D06EE93}"/>
    <dgm:cxn modelId="{1FEBF3F8-9447-4E04-8F79-66B9B359A890}" type="presOf" srcId="{BD7477F5-7286-4304-A7C7-11708B3E26C6}" destId="{A582BE4D-A4FB-41DE-9171-DC1C1686E4C1}" srcOrd="1" destOrd="0" presId="urn:microsoft.com/office/officeart/2005/8/layout/list1"/>
    <dgm:cxn modelId="{774F3CFA-1D97-4A45-AC25-4A1FC906221F}" type="presOf" srcId="{13A87313-E30F-44B6-9D55-7EDBB0FE834D}" destId="{05EAC601-3007-4B3E-BF2A-3CB05ABBD72C}" srcOrd="0" destOrd="0" presId="urn:microsoft.com/office/officeart/2005/8/layout/list1"/>
    <dgm:cxn modelId="{CBE19907-1CB2-49D8-852A-319106241696}" type="presParOf" srcId="{5C1604DD-6E73-4906-A62D-E796D4125C9E}" destId="{A6966E8C-825E-44A3-AF8D-8F950EF92794}" srcOrd="0" destOrd="0" presId="urn:microsoft.com/office/officeart/2005/8/layout/list1"/>
    <dgm:cxn modelId="{45AE6434-188E-4D7B-A461-943FFA65D6C1}" type="presParOf" srcId="{A6966E8C-825E-44A3-AF8D-8F950EF92794}" destId="{05EAC601-3007-4B3E-BF2A-3CB05ABBD72C}" srcOrd="0" destOrd="0" presId="urn:microsoft.com/office/officeart/2005/8/layout/list1"/>
    <dgm:cxn modelId="{6A465EA2-0E0F-44DE-BACC-192E6C8AEA1A}" type="presParOf" srcId="{A6966E8C-825E-44A3-AF8D-8F950EF92794}" destId="{06FD7A0E-C511-4D06-83FD-8C0955670AE9}" srcOrd="1" destOrd="0" presId="urn:microsoft.com/office/officeart/2005/8/layout/list1"/>
    <dgm:cxn modelId="{EDE20BA8-CA95-4019-83D1-29A41E4AF7F8}" type="presParOf" srcId="{5C1604DD-6E73-4906-A62D-E796D4125C9E}" destId="{A829C98D-CDCF-4C44-90DC-B9D79F8F709E}" srcOrd="1" destOrd="0" presId="urn:microsoft.com/office/officeart/2005/8/layout/list1"/>
    <dgm:cxn modelId="{DC051089-92BE-4328-896B-E96C2FAEE839}" type="presParOf" srcId="{5C1604DD-6E73-4906-A62D-E796D4125C9E}" destId="{5AAC7875-BF9C-438D-AF37-083F2F4ADAB2}" srcOrd="2" destOrd="0" presId="urn:microsoft.com/office/officeart/2005/8/layout/list1"/>
    <dgm:cxn modelId="{93D12736-B925-45E8-9114-8FF2A98EF0E1}" type="presParOf" srcId="{5C1604DD-6E73-4906-A62D-E796D4125C9E}" destId="{68A4E5CD-CCD7-493D-8CB6-0FCBEFD4A361}" srcOrd="3" destOrd="0" presId="urn:microsoft.com/office/officeart/2005/8/layout/list1"/>
    <dgm:cxn modelId="{6849911C-5046-4B16-9678-0CF8E6E4FF73}" type="presParOf" srcId="{5C1604DD-6E73-4906-A62D-E796D4125C9E}" destId="{E7895CF9-305D-439F-81C1-7422B57CC2FE}" srcOrd="4" destOrd="0" presId="urn:microsoft.com/office/officeart/2005/8/layout/list1"/>
    <dgm:cxn modelId="{5C2E2BDF-FFAE-44FF-BB80-3CF313A7BCBD}" type="presParOf" srcId="{E7895CF9-305D-439F-81C1-7422B57CC2FE}" destId="{7C164ABA-1D43-43B3-95BF-08BD650B3091}" srcOrd="0" destOrd="0" presId="urn:microsoft.com/office/officeart/2005/8/layout/list1"/>
    <dgm:cxn modelId="{8E3CF242-B143-4208-AF7E-F1AC72EA8E5E}" type="presParOf" srcId="{E7895CF9-305D-439F-81C1-7422B57CC2FE}" destId="{3EDB118E-7CCD-4175-81E0-8BF649098DE9}" srcOrd="1" destOrd="0" presId="urn:microsoft.com/office/officeart/2005/8/layout/list1"/>
    <dgm:cxn modelId="{E7F354D0-BBF4-4547-BF09-B3DC939B451E}" type="presParOf" srcId="{5C1604DD-6E73-4906-A62D-E796D4125C9E}" destId="{2758D860-03F4-4314-BC8F-C0261C0F7C3B}" srcOrd="5" destOrd="0" presId="urn:microsoft.com/office/officeart/2005/8/layout/list1"/>
    <dgm:cxn modelId="{1B6D4B5C-9E48-4E4D-8D27-D7B75760E986}" type="presParOf" srcId="{5C1604DD-6E73-4906-A62D-E796D4125C9E}" destId="{DFC23F17-65DD-4A51-9512-BBDD3E41F707}" srcOrd="6" destOrd="0" presId="urn:microsoft.com/office/officeart/2005/8/layout/list1"/>
    <dgm:cxn modelId="{BA6A707C-0BB1-4C74-9DA6-5405DF10909E}" type="presParOf" srcId="{5C1604DD-6E73-4906-A62D-E796D4125C9E}" destId="{04DE98D1-E212-4423-9D96-239E2AB7C873}" srcOrd="7" destOrd="0" presId="urn:microsoft.com/office/officeart/2005/8/layout/list1"/>
    <dgm:cxn modelId="{56362A15-A745-411E-94CE-6A10D29C50E7}" type="presParOf" srcId="{5C1604DD-6E73-4906-A62D-E796D4125C9E}" destId="{1F9FA2A2-53A0-40E6-9EC3-8F1DDB8BE932}" srcOrd="8" destOrd="0" presId="urn:microsoft.com/office/officeart/2005/8/layout/list1"/>
    <dgm:cxn modelId="{2E1CC35F-772D-4E5E-B145-52F06E9E9333}" type="presParOf" srcId="{1F9FA2A2-53A0-40E6-9EC3-8F1DDB8BE932}" destId="{18DDA855-0770-4274-8C66-C2E0C780B3FB}" srcOrd="0" destOrd="0" presId="urn:microsoft.com/office/officeart/2005/8/layout/list1"/>
    <dgm:cxn modelId="{0C48DF3E-CB61-4D69-ABEE-CB1D8AEFB586}" type="presParOf" srcId="{1F9FA2A2-53A0-40E6-9EC3-8F1DDB8BE932}" destId="{A582BE4D-A4FB-41DE-9171-DC1C1686E4C1}" srcOrd="1" destOrd="0" presId="urn:microsoft.com/office/officeart/2005/8/layout/list1"/>
    <dgm:cxn modelId="{6A374B20-5F00-4760-A76B-704588F7A919}" type="presParOf" srcId="{5C1604DD-6E73-4906-A62D-E796D4125C9E}" destId="{51B31F10-DADF-467D-A73F-286B94D36C25}" srcOrd="9" destOrd="0" presId="urn:microsoft.com/office/officeart/2005/8/layout/list1"/>
    <dgm:cxn modelId="{CF88C276-2C43-4ECB-B2DA-C4679BAE88AF}" type="presParOf" srcId="{5C1604DD-6E73-4906-A62D-E796D4125C9E}" destId="{BD329902-8D3D-49FA-8569-C5FCEBE92D48}" srcOrd="10" destOrd="0" presId="urn:microsoft.com/office/officeart/2005/8/layout/list1"/>
    <dgm:cxn modelId="{635A9481-2639-48AB-96DE-354698C31428}" type="presParOf" srcId="{5C1604DD-6E73-4906-A62D-E796D4125C9E}" destId="{1E489AE8-01C9-4698-A27A-297728C542B3}" srcOrd="11" destOrd="0" presId="urn:microsoft.com/office/officeart/2005/8/layout/list1"/>
    <dgm:cxn modelId="{F59BD8B8-FC5F-4BC2-BD2B-68A87DE93FD9}" type="presParOf" srcId="{5C1604DD-6E73-4906-A62D-E796D4125C9E}" destId="{52758CDB-1787-4E27-BADF-260B45C3F505}" srcOrd="12" destOrd="0" presId="urn:microsoft.com/office/officeart/2005/8/layout/list1"/>
    <dgm:cxn modelId="{5D01A5FD-9D44-4939-B284-D297DEF9EA11}" type="presParOf" srcId="{52758CDB-1787-4E27-BADF-260B45C3F505}" destId="{8F8BA42F-5783-4C9B-AC3F-E1EF735CB8BD}" srcOrd="0" destOrd="0" presId="urn:microsoft.com/office/officeart/2005/8/layout/list1"/>
    <dgm:cxn modelId="{25F7DC78-293D-4B58-BD0E-BBA7C9196008}" type="presParOf" srcId="{52758CDB-1787-4E27-BADF-260B45C3F505}" destId="{B2261305-E3C2-4DEA-9B09-084FDC1551E8}" srcOrd="1" destOrd="0" presId="urn:microsoft.com/office/officeart/2005/8/layout/list1"/>
    <dgm:cxn modelId="{7599C2E4-899F-43E9-B7CC-8B498661457F}" type="presParOf" srcId="{5C1604DD-6E73-4906-A62D-E796D4125C9E}" destId="{5871A78B-4794-4F9B-87A7-02AE01B397AC}" srcOrd="13" destOrd="0" presId="urn:microsoft.com/office/officeart/2005/8/layout/list1"/>
    <dgm:cxn modelId="{6348EC96-2E30-4293-827A-ADDC06101078}" type="presParOf" srcId="{5C1604DD-6E73-4906-A62D-E796D4125C9E}" destId="{B4F55807-8DF2-45D8-8BFA-2797E1D0A494}" srcOrd="14" destOrd="0" presId="urn:microsoft.com/office/officeart/2005/8/layout/list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8E98F8-91D4-4B63-B81E-6AD714771BEC}">
      <dsp:nvSpPr>
        <dsp:cNvPr id="0" name=""/>
        <dsp:cNvSpPr/>
      </dsp:nvSpPr>
      <dsp:spPr>
        <a:xfrm>
          <a:off x="9081" y="1465451"/>
          <a:ext cx="2714402" cy="1628641"/>
        </a:xfrm>
        <a:prstGeom prst="roundRect">
          <a:avLst>
            <a:gd name="adj" fmla="val 10000"/>
          </a:avLst>
        </a:prstGeom>
        <a:solidFill>
          <a:schemeClr val="lt1">
            <a:hueOff val="0"/>
            <a:satOff val="0"/>
            <a:lumOff val="0"/>
            <a:alphaOff val="0"/>
          </a:schemeClr>
        </a:solidFill>
        <a:ln w="1587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latin typeface="Gill Sans"/>
            </a:rPr>
            <a:t>Fixed-term academic employees do not automatically continue into the next academic or fiscal year</a:t>
          </a:r>
        </a:p>
      </dsp:txBody>
      <dsp:txXfrm>
        <a:off x="56782" y="1513152"/>
        <a:ext cx="2619000" cy="1533239"/>
      </dsp:txXfrm>
    </dsp:sp>
    <dsp:sp modelId="{7B63F5EE-239F-428F-993E-38A9A4F38285}">
      <dsp:nvSpPr>
        <dsp:cNvPr id="0" name=""/>
        <dsp:cNvSpPr/>
      </dsp:nvSpPr>
      <dsp:spPr>
        <a:xfrm>
          <a:off x="2994924" y="1943186"/>
          <a:ext cx="575453" cy="67317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l" defTabSz="711200">
            <a:lnSpc>
              <a:spcPct val="90000"/>
            </a:lnSpc>
            <a:spcBef>
              <a:spcPct val="0"/>
            </a:spcBef>
            <a:spcAft>
              <a:spcPct val="35000"/>
            </a:spcAft>
            <a:buNone/>
          </a:pPr>
          <a:endParaRPr lang="en-US" sz="1600" kern="1200" dirty="0">
            <a:latin typeface="Gill Sans"/>
          </a:endParaRPr>
        </a:p>
      </dsp:txBody>
      <dsp:txXfrm>
        <a:off x="2994924" y="2077820"/>
        <a:ext cx="402817" cy="403903"/>
      </dsp:txXfrm>
    </dsp:sp>
    <dsp:sp modelId="{F58FA3CB-C05C-4B72-A408-C63A65550679}">
      <dsp:nvSpPr>
        <dsp:cNvPr id="0" name=""/>
        <dsp:cNvSpPr/>
      </dsp:nvSpPr>
      <dsp:spPr>
        <a:xfrm>
          <a:off x="3809245" y="1465451"/>
          <a:ext cx="2714402" cy="1628641"/>
        </a:xfrm>
        <a:prstGeom prst="roundRect">
          <a:avLst>
            <a:gd name="adj" fmla="val 10000"/>
          </a:avLst>
        </a:prstGeom>
        <a:solidFill>
          <a:schemeClr val="lt1">
            <a:hueOff val="0"/>
            <a:satOff val="0"/>
            <a:lumOff val="0"/>
            <a:alphaOff val="0"/>
          </a:schemeClr>
        </a:solidFill>
        <a:ln w="1587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latin typeface="Gill Sans"/>
            </a:rPr>
            <a:t>“Renewals” is the term used to describe the decisions and process of extending those appointments into successive year(s).</a:t>
          </a:r>
        </a:p>
      </dsp:txBody>
      <dsp:txXfrm>
        <a:off x="3856946" y="1513152"/>
        <a:ext cx="2619000" cy="1533239"/>
      </dsp:txXfrm>
    </dsp:sp>
    <dsp:sp modelId="{72AE2DAD-F7C2-403C-817D-08B4C899FCA0}">
      <dsp:nvSpPr>
        <dsp:cNvPr id="0" name=""/>
        <dsp:cNvSpPr/>
      </dsp:nvSpPr>
      <dsp:spPr>
        <a:xfrm>
          <a:off x="6795088" y="1943186"/>
          <a:ext cx="575453" cy="67317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dirty="0">
            <a:latin typeface="Gill Sans"/>
          </a:endParaRPr>
        </a:p>
      </dsp:txBody>
      <dsp:txXfrm>
        <a:off x="6795088" y="2077820"/>
        <a:ext cx="402817" cy="403903"/>
      </dsp:txXfrm>
    </dsp:sp>
    <dsp:sp modelId="{62E36EF8-A495-4CF5-BF21-6EA3927FD8CB}">
      <dsp:nvSpPr>
        <dsp:cNvPr id="0" name=""/>
        <dsp:cNvSpPr/>
      </dsp:nvSpPr>
      <dsp:spPr>
        <a:xfrm>
          <a:off x="7609408" y="1465451"/>
          <a:ext cx="2714402" cy="1628641"/>
        </a:xfrm>
        <a:prstGeom prst="roundRect">
          <a:avLst>
            <a:gd name="adj" fmla="val 10000"/>
          </a:avLst>
        </a:prstGeom>
        <a:solidFill>
          <a:schemeClr val="lt1">
            <a:hueOff val="0"/>
            <a:satOff val="0"/>
            <a:lumOff val="0"/>
            <a:alphaOff val="0"/>
          </a:schemeClr>
        </a:solidFill>
        <a:ln w="1587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latin typeface="Gill Sans"/>
            </a:rPr>
            <a:t>“Non-renewal” describes the decision and process of ending an appointment for fixed-term academic faculty employees.</a:t>
          </a:r>
        </a:p>
      </dsp:txBody>
      <dsp:txXfrm>
        <a:off x="7657109" y="1513152"/>
        <a:ext cx="2619000" cy="15332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AB08CD-5959-4C96-B790-CA5281971885}">
      <dsp:nvSpPr>
        <dsp:cNvPr id="0" name=""/>
        <dsp:cNvSpPr/>
      </dsp:nvSpPr>
      <dsp:spPr>
        <a:xfrm>
          <a:off x="6329" y="669268"/>
          <a:ext cx="2008640" cy="803456"/>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Gill Sans"/>
            </a:rPr>
            <a:t>April 6</a:t>
          </a:r>
          <a:endParaRPr lang="en-US" sz="1600" kern="1200" dirty="0">
            <a:highlight>
              <a:srgbClr val="FF00FF"/>
            </a:highlight>
            <a:latin typeface="Gill Sans"/>
          </a:endParaRPr>
        </a:p>
      </dsp:txBody>
      <dsp:txXfrm>
        <a:off x="408057" y="669268"/>
        <a:ext cx="1205184" cy="803456"/>
      </dsp:txXfrm>
    </dsp:sp>
    <dsp:sp modelId="{7D313227-BC9D-469E-A987-5B1BB876F4E5}">
      <dsp:nvSpPr>
        <dsp:cNvPr id="0" name=""/>
        <dsp:cNvSpPr/>
      </dsp:nvSpPr>
      <dsp:spPr>
        <a:xfrm>
          <a:off x="6329" y="1573156"/>
          <a:ext cx="1606912" cy="15641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US" sz="1600" kern="1200" dirty="0">
              <a:latin typeface="Gill Sans"/>
            </a:rPr>
            <a:t>Fixed-term renewal memo sent by UHR</a:t>
          </a:r>
        </a:p>
      </dsp:txBody>
      <dsp:txXfrm>
        <a:off x="6329" y="1573156"/>
        <a:ext cx="1606912" cy="1564189"/>
      </dsp:txXfrm>
    </dsp:sp>
    <dsp:sp modelId="{3F59E3E8-1636-4496-A1E4-C5BDD443E705}">
      <dsp:nvSpPr>
        <dsp:cNvPr id="0" name=""/>
        <dsp:cNvSpPr/>
      </dsp:nvSpPr>
      <dsp:spPr>
        <a:xfrm>
          <a:off x="1798969" y="669268"/>
          <a:ext cx="2008640" cy="803456"/>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Gill Sans"/>
            </a:rPr>
            <a:t>April 8</a:t>
          </a:r>
        </a:p>
      </dsp:txBody>
      <dsp:txXfrm>
        <a:off x="2200697" y="669268"/>
        <a:ext cx="1205184" cy="803456"/>
      </dsp:txXfrm>
    </dsp:sp>
    <dsp:sp modelId="{51863536-E62F-4464-934B-978E6A783231}">
      <dsp:nvSpPr>
        <dsp:cNvPr id="0" name=""/>
        <dsp:cNvSpPr/>
      </dsp:nvSpPr>
      <dsp:spPr>
        <a:xfrm>
          <a:off x="1798969" y="1573156"/>
          <a:ext cx="1606912" cy="15641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US" sz="1600" kern="1200" dirty="0">
              <a:latin typeface="Gill Sans"/>
            </a:rPr>
            <a:t>Fixed-term renewal online tool registration memo sent by Kadie Powell to all users</a:t>
          </a:r>
        </a:p>
      </dsp:txBody>
      <dsp:txXfrm>
        <a:off x="1798969" y="1573156"/>
        <a:ext cx="1606912" cy="1564189"/>
      </dsp:txXfrm>
    </dsp:sp>
    <dsp:sp modelId="{0622075B-209B-48C5-9680-99B28ADA3EC7}">
      <dsp:nvSpPr>
        <dsp:cNvPr id="0" name=""/>
        <dsp:cNvSpPr/>
      </dsp:nvSpPr>
      <dsp:spPr>
        <a:xfrm>
          <a:off x="3591609" y="669268"/>
          <a:ext cx="2008640" cy="803456"/>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Gill Sans"/>
            </a:rPr>
            <a:t>April 13</a:t>
          </a:r>
        </a:p>
      </dsp:txBody>
      <dsp:txXfrm>
        <a:off x="3993337" y="669268"/>
        <a:ext cx="1205184" cy="803456"/>
      </dsp:txXfrm>
    </dsp:sp>
    <dsp:sp modelId="{CD8F3B2A-4A96-49CA-87CC-8D805B1EAD09}">
      <dsp:nvSpPr>
        <dsp:cNvPr id="0" name=""/>
        <dsp:cNvSpPr/>
      </dsp:nvSpPr>
      <dsp:spPr>
        <a:xfrm>
          <a:off x="3591609" y="1573156"/>
          <a:ext cx="1606912" cy="15641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US" sz="1600" kern="1200" dirty="0">
              <a:latin typeface="Gill Sans"/>
            </a:rPr>
            <a:t>Fixed-term academic renewal tool link issued by HR Strategic Partners, with instructions</a:t>
          </a:r>
        </a:p>
      </dsp:txBody>
      <dsp:txXfrm>
        <a:off x="3591609" y="1573156"/>
        <a:ext cx="1606912" cy="1564189"/>
      </dsp:txXfrm>
    </dsp:sp>
    <dsp:sp modelId="{A2913B5F-CA55-42C1-9DE9-740B60862AD0}">
      <dsp:nvSpPr>
        <dsp:cNvPr id="0" name=""/>
        <dsp:cNvSpPr/>
      </dsp:nvSpPr>
      <dsp:spPr>
        <a:xfrm>
          <a:off x="5384250" y="669268"/>
          <a:ext cx="2008640" cy="803456"/>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Gill Sans"/>
            </a:rPr>
            <a:t>April 14- April 28</a:t>
          </a:r>
        </a:p>
      </dsp:txBody>
      <dsp:txXfrm>
        <a:off x="5785978" y="669268"/>
        <a:ext cx="1205184" cy="803456"/>
      </dsp:txXfrm>
    </dsp:sp>
    <dsp:sp modelId="{6369563A-C728-4801-ABCA-839CB16BF0A4}">
      <dsp:nvSpPr>
        <dsp:cNvPr id="0" name=""/>
        <dsp:cNvSpPr/>
      </dsp:nvSpPr>
      <dsp:spPr>
        <a:xfrm>
          <a:off x="5384250" y="1573156"/>
          <a:ext cx="1606912" cy="15641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US" sz="1600" kern="1200" dirty="0">
              <a:latin typeface="Gill Sans"/>
            </a:rPr>
            <a:t>Sessions with designated HRSP</a:t>
          </a:r>
        </a:p>
      </dsp:txBody>
      <dsp:txXfrm>
        <a:off x="5384250" y="1573156"/>
        <a:ext cx="1606912" cy="1564189"/>
      </dsp:txXfrm>
    </dsp:sp>
    <dsp:sp modelId="{5C303E87-465E-4D13-8ED5-B90EDC0F02E4}">
      <dsp:nvSpPr>
        <dsp:cNvPr id="0" name=""/>
        <dsp:cNvSpPr/>
      </dsp:nvSpPr>
      <dsp:spPr>
        <a:xfrm>
          <a:off x="7176890" y="669268"/>
          <a:ext cx="2008640" cy="803456"/>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Gill Sans"/>
            </a:rPr>
            <a:t>April 28</a:t>
          </a:r>
        </a:p>
      </dsp:txBody>
      <dsp:txXfrm>
        <a:off x="7578618" y="669268"/>
        <a:ext cx="1205184" cy="803456"/>
      </dsp:txXfrm>
    </dsp:sp>
    <dsp:sp modelId="{5BF31796-E3FC-4806-815C-92456D7B3733}">
      <dsp:nvSpPr>
        <dsp:cNvPr id="0" name=""/>
        <dsp:cNvSpPr/>
      </dsp:nvSpPr>
      <dsp:spPr>
        <a:xfrm>
          <a:off x="7176890" y="1573156"/>
          <a:ext cx="1606912" cy="15641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US" sz="1600" kern="1200" dirty="0">
              <a:latin typeface="Gill Sans"/>
            </a:rPr>
            <a:t>Last day to record renewal decisions using online tool</a:t>
          </a:r>
        </a:p>
      </dsp:txBody>
      <dsp:txXfrm>
        <a:off x="7176890" y="1573156"/>
        <a:ext cx="1606912" cy="1564189"/>
      </dsp:txXfrm>
    </dsp:sp>
    <dsp:sp modelId="{1B1F7217-FCC2-408F-A954-34B30CEF989D}">
      <dsp:nvSpPr>
        <dsp:cNvPr id="0" name=""/>
        <dsp:cNvSpPr/>
      </dsp:nvSpPr>
      <dsp:spPr>
        <a:xfrm>
          <a:off x="8969530" y="669268"/>
          <a:ext cx="2008640" cy="803456"/>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Gill Sans"/>
            </a:rPr>
            <a:t>Beginning May 8</a:t>
          </a:r>
        </a:p>
      </dsp:txBody>
      <dsp:txXfrm>
        <a:off x="9371258" y="669268"/>
        <a:ext cx="1205184" cy="803456"/>
      </dsp:txXfrm>
    </dsp:sp>
    <dsp:sp modelId="{36D6393E-9476-4AC9-A78F-C2FE45501131}">
      <dsp:nvSpPr>
        <dsp:cNvPr id="0" name=""/>
        <dsp:cNvSpPr/>
      </dsp:nvSpPr>
      <dsp:spPr>
        <a:xfrm>
          <a:off x="8969530" y="1573156"/>
          <a:ext cx="1606912" cy="15641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US" sz="1600" kern="1200" dirty="0">
              <a:latin typeface="Gill Sans"/>
            </a:rPr>
            <a:t>Fixed-term academic renewal letter distribution</a:t>
          </a:r>
        </a:p>
      </dsp:txBody>
      <dsp:txXfrm>
        <a:off x="8969530" y="1573156"/>
        <a:ext cx="1606912" cy="156418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BD0131-04CB-44E9-8886-39D431D964CE}">
      <dsp:nvSpPr>
        <dsp:cNvPr id="0" name=""/>
        <dsp:cNvSpPr/>
      </dsp:nvSpPr>
      <dsp:spPr>
        <a:xfrm>
          <a:off x="5224" y="310057"/>
          <a:ext cx="2002631" cy="481063"/>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Gill Sans"/>
              <a:ea typeface="Cambria" panose="02040503050406030204" pitchFamily="18" charset="0"/>
            </a:rPr>
            <a:t>Renewal</a:t>
          </a:r>
          <a:endParaRPr lang="en-US" sz="1300" kern="1200" dirty="0">
            <a:latin typeface="Gill Sans"/>
            <a:ea typeface="Cambria" panose="02040503050406030204" pitchFamily="18" charset="0"/>
          </a:endParaRPr>
        </a:p>
      </dsp:txBody>
      <dsp:txXfrm>
        <a:off x="5224" y="310057"/>
        <a:ext cx="2002631" cy="481063"/>
      </dsp:txXfrm>
    </dsp:sp>
    <dsp:sp modelId="{23E8114A-1667-4C26-9B6A-83E6BDE0463C}">
      <dsp:nvSpPr>
        <dsp:cNvPr id="0" name=""/>
        <dsp:cNvSpPr/>
      </dsp:nvSpPr>
      <dsp:spPr>
        <a:xfrm>
          <a:off x="5224" y="791120"/>
          <a:ext cx="2002631" cy="3967778"/>
        </a:xfrm>
        <a:prstGeom prst="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a:latin typeface="Gill Sans"/>
              <a:ea typeface="Cambria" panose="02040503050406030204" pitchFamily="18" charset="0"/>
            </a:rPr>
            <a:t>Same FTE as displayed in the system</a:t>
          </a:r>
        </a:p>
        <a:p>
          <a:pPr marL="114300" lvl="1" indent="-114300" algn="l" defTabSz="577850">
            <a:lnSpc>
              <a:spcPct val="90000"/>
            </a:lnSpc>
            <a:spcBef>
              <a:spcPct val="0"/>
            </a:spcBef>
            <a:spcAft>
              <a:spcPct val="15000"/>
            </a:spcAft>
            <a:buChar char="•"/>
          </a:pPr>
          <a:r>
            <a:rPr lang="en-US" sz="1300" kern="1200" dirty="0">
              <a:latin typeface="Gill Sans"/>
              <a:ea typeface="Cambria" panose="02040503050406030204" pitchFamily="18" charset="0"/>
            </a:rPr>
            <a:t>Assigned work at the beginning of the new renewal period (i.e., a 9-month faculty member is assigned teaching for fall term)</a:t>
          </a:r>
        </a:p>
      </dsp:txBody>
      <dsp:txXfrm>
        <a:off x="5224" y="791120"/>
        <a:ext cx="2002631" cy="3967778"/>
      </dsp:txXfrm>
    </dsp:sp>
    <dsp:sp modelId="{ADEFC9CC-204D-47BC-9C3D-3EB876AB140C}">
      <dsp:nvSpPr>
        <dsp:cNvPr id="0" name=""/>
        <dsp:cNvSpPr/>
      </dsp:nvSpPr>
      <dsp:spPr>
        <a:xfrm>
          <a:off x="2288224" y="310057"/>
          <a:ext cx="2002631" cy="481063"/>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Gill Sans"/>
              <a:ea typeface="Cambria" panose="02040503050406030204" pitchFamily="18" charset="0"/>
            </a:rPr>
            <a:t>Non-renewal</a:t>
          </a:r>
          <a:endParaRPr lang="en-US" sz="1300" kern="1200" dirty="0">
            <a:latin typeface="Gill Sans"/>
            <a:ea typeface="Cambria" panose="02040503050406030204" pitchFamily="18" charset="0"/>
          </a:endParaRPr>
        </a:p>
      </dsp:txBody>
      <dsp:txXfrm>
        <a:off x="2288224" y="310057"/>
        <a:ext cx="2002631" cy="481063"/>
      </dsp:txXfrm>
    </dsp:sp>
    <dsp:sp modelId="{ACE4220F-1C46-422C-A89A-367E06E76809}">
      <dsp:nvSpPr>
        <dsp:cNvPr id="0" name=""/>
        <dsp:cNvSpPr/>
      </dsp:nvSpPr>
      <dsp:spPr>
        <a:xfrm>
          <a:off x="2288224" y="791120"/>
          <a:ext cx="2002631" cy="3967778"/>
        </a:xfrm>
        <a:prstGeom prst="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a:latin typeface="Gill Sans"/>
              <a:ea typeface="Cambria" panose="02040503050406030204" pitchFamily="18" charset="0"/>
            </a:rPr>
            <a:t>Use if a non-renewal proposal has been approved, the employee has been informed in writing by the supervisor and HR, </a:t>
          </a:r>
          <a:r>
            <a:rPr lang="en-US" sz="1300" u="sng" kern="1200" dirty="0">
              <a:latin typeface="Gill Sans"/>
              <a:ea typeface="Cambria" panose="02040503050406030204" pitchFamily="18" charset="0"/>
            </a:rPr>
            <a:t>and</a:t>
          </a:r>
          <a:r>
            <a:rPr lang="en-US" sz="1300" kern="1200" dirty="0">
              <a:latin typeface="Gill Sans"/>
              <a:ea typeface="Cambria" panose="02040503050406030204" pitchFamily="18" charset="0"/>
            </a:rPr>
            <a:t> you are prepared for the appointment to be automatically ended in Banner. This is </a:t>
          </a:r>
          <a:r>
            <a:rPr lang="en-US" sz="1300" b="1" kern="1200" dirty="0">
              <a:latin typeface="Gill Sans"/>
              <a:ea typeface="Cambria" panose="02040503050406030204" pitchFamily="18" charset="0"/>
            </a:rPr>
            <a:t>RARE</a:t>
          </a:r>
          <a:r>
            <a:rPr lang="en-US" sz="1300" kern="1200" dirty="0">
              <a:latin typeface="Gill Sans"/>
              <a:ea typeface="Cambria" panose="02040503050406030204" pitchFamily="18" charset="0"/>
            </a:rPr>
            <a:t>.</a:t>
          </a:r>
        </a:p>
      </dsp:txBody>
      <dsp:txXfrm>
        <a:off x="2288224" y="791120"/>
        <a:ext cx="2002631" cy="3967778"/>
      </dsp:txXfrm>
    </dsp:sp>
    <dsp:sp modelId="{8D89D4AE-F838-44EE-89DE-8B3DA444863A}">
      <dsp:nvSpPr>
        <dsp:cNvPr id="0" name=""/>
        <dsp:cNvSpPr/>
      </dsp:nvSpPr>
      <dsp:spPr>
        <a:xfrm>
          <a:off x="4571223" y="310057"/>
          <a:ext cx="2002631" cy="481063"/>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Gill Sans"/>
              <a:ea typeface="Cambria" panose="02040503050406030204" pitchFamily="18" charset="0"/>
            </a:rPr>
            <a:t>Revised Appointment Date</a:t>
          </a:r>
        </a:p>
      </dsp:txBody>
      <dsp:txXfrm>
        <a:off x="4571223" y="310057"/>
        <a:ext cx="2002631" cy="481063"/>
      </dsp:txXfrm>
    </dsp:sp>
    <dsp:sp modelId="{F029845E-2C1A-4B54-A2FD-2AD66265914D}">
      <dsp:nvSpPr>
        <dsp:cNvPr id="0" name=""/>
        <dsp:cNvSpPr/>
      </dsp:nvSpPr>
      <dsp:spPr>
        <a:xfrm>
          <a:off x="4571223" y="791120"/>
          <a:ext cx="2002631" cy="3967778"/>
        </a:xfrm>
        <a:prstGeom prst="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a:latin typeface="Gill Sans"/>
              <a:ea typeface="Cambria" panose="02040503050406030204" pitchFamily="18" charset="0"/>
            </a:rPr>
            <a:t>Same FTE</a:t>
          </a:r>
        </a:p>
        <a:p>
          <a:pPr marL="114300" lvl="1" indent="-114300" algn="l" defTabSz="577850">
            <a:lnSpc>
              <a:spcPct val="90000"/>
            </a:lnSpc>
            <a:spcBef>
              <a:spcPct val="0"/>
            </a:spcBef>
            <a:spcAft>
              <a:spcPct val="15000"/>
            </a:spcAft>
            <a:buChar char="•"/>
          </a:pPr>
          <a:r>
            <a:rPr lang="en-US" sz="1300" kern="1200" dirty="0">
              <a:latin typeface="Gill Sans"/>
              <a:ea typeface="Cambria" panose="02040503050406030204" pitchFamily="18" charset="0"/>
            </a:rPr>
            <a:t>New appointment will begin the day after the current appointment ends</a:t>
          </a:r>
        </a:p>
        <a:p>
          <a:pPr marL="114300" lvl="1" indent="-114300" algn="l" defTabSz="577850">
            <a:lnSpc>
              <a:spcPct val="90000"/>
            </a:lnSpc>
            <a:spcBef>
              <a:spcPct val="0"/>
            </a:spcBef>
            <a:spcAft>
              <a:spcPct val="15000"/>
            </a:spcAft>
            <a:buChar char="•"/>
          </a:pPr>
          <a:r>
            <a:rPr lang="en-US" sz="1300" u="none" kern="1200" dirty="0">
              <a:latin typeface="Gill Sans"/>
              <a:ea typeface="Cambria" panose="02040503050406030204" pitchFamily="18" charset="0"/>
            </a:rPr>
            <a:t>Must specify when the new appointment will end</a:t>
          </a:r>
          <a:endParaRPr lang="en-US" sz="1300" u="sng" kern="1200" dirty="0">
            <a:latin typeface="Gill Sans"/>
            <a:ea typeface="Cambria" panose="02040503050406030204" pitchFamily="18" charset="0"/>
          </a:endParaRPr>
        </a:p>
        <a:p>
          <a:pPr marL="114300" lvl="1" indent="-114300" algn="l" defTabSz="577850">
            <a:lnSpc>
              <a:spcPct val="90000"/>
            </a:lnSpc>
            <a:spcBef>
              <a:spcPct val="0"/>
            </a:spcBef>
            <a:spcAft>
              <a:spcPct val="15000"/>
            </a:spcAft>
            <a:buChar char="•"/>
          </a:pPr>
          <a:r>
            <a:rPr lang="en-US" sz="1300" u="none" kern="1200" dirty="0">
              <a:latin typeface="Gill Sans"/>
              <a:ea typeface="Cambria" panose="02040503050406030204" pitchFamily="18" charset="0"/>
            </a:rPr>
            <a:t>Most commonly used in situations where external funding is uncertain on 12-month appointments. </a:t>
          </a:r>
        </a:p>
      </dsp:txBody>
      <dsp:txXfrm>
        <a:off x="4571223" y="791120"/>
        <a:ext cx="2002631" cy="3967778"/>
      </dsp:txXfrm>
    </dsp:sp>
    <dsp:sp modelId="{1D302218-1302-447E-BCCC-8FE94D42BA41}">
      <dsp:nvSpPr>
        <dsp:cNvPr id="0" name=""/>
        <dsp:cNvSpPr/>
      </dsp:nvSpPr>
      <dsp:spPr>
        <a:xfrm>
          <a:off x="6854223" y="310057"/>
          <a:ext cx="2002631" cy="481063"/>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b="1" u="none" kern="1200" dirty="0">
              <a:latin typeface="Gill Sans"/>
              <a:ea typeface="Cambria" panose="02040503050406030204" pitchFamily="18" charset="0"/>
            </a:rPr>
            <a:t>Uncertain</a:t>
          </a:r>
          <a:endParaRPr lang="en-US" sz="1300" u="sng" kern="1200" dirty="0">
            <a:latin typeface="Gill Sans"/>
            <a:ea typeface="Cambria" panose="02040503050406030204" pitchFamily="18" charset="0"/>
          </a:endParaRPr>
        </a:p>
      </dsp:txBody>
      <dsp:txXfrm>
        <a:off x="6854223" y="310057"/>
        <a:ext cx="2002631" cy="481063"/>
      </dsp:txXfrm>
    </dsp:sp>
    <dsp:sp modelId="{50581E1A-888F-4EF0-BC8B-30A18FE244CB}">
      <dsp:nvSpPr>
        <dsp:cNvPr id="0" name=""/>
        <dsp:cNvSpPr/>
      </dsp:nvSpPr>
      <dsp:spPr>
        <a:xfrm>
          <a:off x="6854223" y="791120"/>
          <a:ext cx="2002631" cy="3967778"/>
        </a:xfrm>
        <a:prstGeom prst="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u="none" kern="1200" dirty="0">
              <a:latin typeface="Gill Sans"/>
              <a:ea typeface="Cambria" panose="02040503050406030204" pitchFamily="18" charset="0"/>
            </a:rPr>
            <a:t>Removes employee from automated processes</a:t>
          </a:r>
        </a:p>
        <a:p>
          <a:pPr marL="114300" lvl="1" indent="-114300" algn="l" defTabSz="577850">
            <a:lnSpc>
              <a:spcPct val="90000"/>
            </a:lnSpc>
            <a:spcBef>
              <a:spcPct val="0"/>
            </a:spcBef>
            <a:spcAft>
              <a:spcPct val="15000"/>
            </a:spcAft>
            <a:buChar char="•"/>
          </a:pPr>
          <a:r>
            <a:rPr lang="en-US" sz="1300" b="0" u="none" kern="1200" dirty="0">
              <a:latin typeface="Gill Sans"/>
              <a:ea typeface="Cambria" panose="02040503050406030204" pitchFamily="18" charset="0"/>
            </a:rPr>
            <a:t>Use when</a:t>
          </a:r>
          <a:r>
            <a:rPr lang="en-US" sz="1300" b="0" u="sng" kern="1200" dirty="0">
              <a:latin typeface="Gill Sans"/>
              <a:ea typeface="Cambria" panose="02040503050406030204" pitchFamily="18" charset="0"/>
            </a:rPr>
            <a:t> </a:t>
          </a:r>
          <a:r>
            <a:rPr lang="en-US" sz="1300" b="1" u="sng" kern="1200" dirty="0">
              <a:latin typeface="Gill Sans"/>
              <a:ea typeface="Cambria" panose="02040503050406030204" pitchFamily="18" charset="0"/>
            </a:rPr>
            <a:t>FTE is changing</a:t>
          </a:r>
        </a:p>
        <a:p>
          <a:pPr marL="114300" lvl="1" indent="-114300" algn="l" defTabSz="577850">
            <a:lnSpc>
              <a:spcPct val="90000"/>
            </a:lnSpc>
            <a:spcBef>
              <a:spcPct val="0"/>
            </a:spcBef>
            <a:spcAft>
              <a:spcPct val="15000"/>
            </a:spcAft>
            <a:buChar char="•"/>
          </a:pPr>
          <a:r>
            <a:rPr lang="en-US" sz="1300" u="none" kern="1200" dirty="0">
              <a:latin typeface="Gill Sans"/>
              <a:ea typeface="Cambria" panose="02040503050406030204" pitchFamily="18" charset="0"/>
            </a:rPr>
            <a:t>Use if considering non-renewal but approval has not yet been obtained</a:t>
          </a:r>
        </a:p>
        <a:p>
          <a:pPr marL="114300" lvl="1" indent="-114300" algn="l" defTabSz="577850">
            <a:lnSpc>
              <a:spcPct val="90000"/>
            </a:lnSpc>
            <a:spcBef>
              <a:spcPct val="0"/>
            </a:spcBef>
            <a:spcAft>
              <a:spcPct val="15000"/>
            </a:spcAft>
            <a:buChar char="•"/>
          </a:pPr>
          <a:r>
            <a:rPr lang="en-US" sz="1300" kern="1200" dirty="0">
              <a:latin typeface="Gill Sans"/>
              <a:ea typeface="Cambria" panose="02040503050406030204" pitchFamily="18" charset="0"/>
            </a:rPr>
            <a:t>Use if you have received a </a:t>
          </a:r>
          <a:r>
            <a:rPr lang="en-US" sz="1300" b="1" kern="1200" dirty="0">
              <a:latin typeface="Gill Sans"/>
              <a:ea typeface="Cambria" panose="02040503050406030204" pitchFamily="18" charset="0"/>
            </a:rPr>
            <a:t>written resignation </a:t>
          </a:r>
          <a:r>
            <a:rPr lang="en-US" sz="1300" kern="1200" dirty="0">
              <a:latin typeface="Gill Sans"/>
              <a:ea typeface="Cambria" panose="02040503050406030204" pitchFamily="18" charset="0"/>
            </a:rPr>
            <a:t>from the employee</a:t>
          </a:r>
          <a:endParaRPr lang="en-US" sz="1300" u="none" kern="1200" dirty="0">
            <a:latin typeface="Gill Sans"/>
            <a:ea typeface="Cambria" panose="02040503050406030204" pitchFamily="18" charset="0"/>
          </a:endParaRPr>
        </a:p>
        <a:p>
          <a:pPr marL="114300" lvl="1" indent="-114300" algn="l" defTabSz="577850">
            <a:lnSpc>
              <a:spcPct val="90000"/>
            </a:lnSpc>
            <a:spcBef>
              <a:spcPct val="0"/>
            </a:spcBef>
            <a:spcAft>
              <a:spcPct val="15000"/>
            </a:spcAft>
            <a:buChar char="•"/>
          </a:pPr>
          <a:r>
            <a:rPr lang="en-US" sz="1300" u="none" kern="1200" dirty="0">
              <a:latin typeface="Gill Sans"/>
              <a:ea typeface="Cambria" panose="02040503050406030204" pitchFamily="18" charset="0"/>
            </a:rPr>
            <a:t>Use if situation is otherwise too complicated for automatic processing </a:t>
          </a:r>
        </a:p>
        <a:p>
          <a:pPr marL="114300" lvl="1" indent="-114300" algn="l" defTabSz="577850">
            <a:lnSpc>
              <a:spcPct val="90000"/>
            </a:lnSpc>
            <a:spcBef>
              <a:spcPct val="0"/>
            </a:spcBef>
            <a:spcAft>
              <a:spcPct val="15000"/>
            </a:spcAft>
            <a:buChar char="•"/>
          </a:pPr>
          <a:r>
            <a:rPr lang="en-US" sz="1300" u="none" kern="1200" dirty="0">
              <a:latin typeface="Gill Sans"/>
              <a:ea typeface="Cambria" panose="02040503050406030204" pitchFamily="18" charset="0"/>
            </a:rPr>
            <a:t>HRSP and/or ELR will work with department on decisions and will inform Service Center if Banner processing or renewal letter is needed</a:t>
          </a:r>
        </a:p>
      </dsp:txBody>
      <dsp:txXfrm>
        <a:off x="6854223" y="791120"/>
        <a:ext cx="2002631" cy="3967778"/>
      </dsp:txXfrm>
    </dsp:sp>
    <dsp:sp modelId="{EFF936C0-009D-4698-AD85-2FEA71802F59}">
      <dsp:nvSpPr>
        <dsp:cNvPr id="0" name=""/>
        <dsp:cNvSpPr/>
      </dsp:nvSpPr>
      <dsp:spPr>
        <a:xfrm>
          <a:off x="9137223" y="310057"/>
          <a:ext cx="2002631" cy="481063"/>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b="1" u="none" kern="1200" dirty="0">
              <a:latin typeface="Gill Sans"/>
              <a:ea typeface="Cambria" panose="02040503050406030204" pitchFamily="18" charset="0"/>
            </a:rPr>
            <a:t>Not in this department</a:t>
          </a:r>
        </a:p>
      </dsp:txBody>
      <dsp:txXfrm>
        <a:off x="9137223" y="310057"/>
        <a:ext cx="2002631" cy="481063"/>
      </dsp:txXfrm>
    </dsp:sp>
    <dsp:sp modelId="{C2C88364-D0BE-479C-8B8C-7DACE45C360C}">
      <dsp:nvSpPr>
        <dsp:cNvPr id="0" name=""/>
        <dsp:cNvSpPr/>
      </dsp:nvSpPr>
      <dsp:spPr>
        <a:xfrm>
          <a:off x="9137223" y="791120"/>
          <a:ext cx="2002631" cy="3967778"/>
        </a:xfrm>
        <a:prstGeom prst="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u="none" kern="1200" dirty="0">
              <a:latin typeface="Gill Sans"/>
              <a:ea typeface="Cambria" panose="02040503050406030204" pitchFamily="18" charset="0"/>
            </a:rPr>
            <a:t>Recall the spreadsheets based on data snapshot from mid-March; changes since that time not reflected</a:t>
          </a:r>
        </a:p>
        <a:p>
          <a:pPr marL="114300" lvl="1" indent="-114300" algn="l" defTabSz="577850">
            <a:lnSpc>
              <a:spcPct val="90000"/>
            </a:lnSpc>
            <a:spcBef>
              <a:spcPct val="0"/>
            </a:spcBef>
            <a:spcAft>
              <a:spcPct val="15000"/>
            </a:spcAft>
            <a:buChar char="•"/>
          </a:pPr>
          <a:r>
            <a:rPr lang="en-US" sz="1300" u="none" kern="1200" dirty="0">
              <a:latin typeface="Gill Sans"/>
              <a:ea typeface="Cambria" panose="02040503050406030204" pitchFamily="18" charset="0"/>
            </a:rPr>
            <a:t>Indicate which timesheet organization the employee should be moved to. If you are unsure, contact your HRSP.</a:t>
          </a:r>
        </a:p>
        <a:p>
          <a:pPr marL="114300" lvl="1" indent="-114300" algn="l" defTabSz="577850">
            <a:lnSpc>
              <a:spcPct val="90000"/>
            </a:lnSpc>
            <a:spcBef>
              <a:spcPct val="0"/>
            </a:spcBef>
            <a:spcAft>
              <a:spcPct val="15000"/>
            </a:spcAft>
            <a:buChar char="•"/>
          </a:pPr>
          <a:r>
            <a:rPr lang="en-US" sz="1300" u="none" kern="1200" dirty="0">
              <a:latin typeface="Gill Sans"/>
              <a:ea typeface="Cambria" panose="02040503050406030204" pitchFamily="18" charset="0"/>
            </a:rPr>
            <a:t>Removes employee from automated processes</a:t>
          </a:r>
        </a:p>
      </dsp:txBody>
      <dsp:txXfrm>
        <a:off x="9137223" y="791120"/>
        <a:ext cx="2002631" cy="396777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931F07-983F-4C3D-A3AE-1CF10F522EF9}">
      <dsp:nvSpPr>
        <dsp:cNvPr id="0" name=""/>
        <dsp:cNvSpPr/>
      </dsp:nvSpPr>
      <dsp:spPr>
        <a:xfrm>
          <a:off x="833" y="1358188"/>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Person was marked “uncertain” in the renewal tool</a:t>
          </a:r>
        </a:p>
      </dsp:txBody>
      <dsp:txXfrm>
        <a:off x="20079" y="1377434"/>
        <a:ext cx="1275749" cy="618628"/>
      </dsp:txXfrm>
    </dsp:sp>
    <dsp:sp modelId="{A8BA21FD-768C-4F78-BBE7-DD026EB8691F}">
      <dsp:nvSpPr>
        <dsp:cNvPr id="0" name=""/>
        <dsp:cNvSpPr/>
      </dsp:nvSpPr>
      <dsp:spPr>
        <a:xfrm rot="19457599">
          <a:off x="1254224" y="1485719"/>
          <a:ext cx="647397" cy="24213"/>
        </a:xfrm>
        <a:custGeom>
          <a:avLst/>
          <a:gdLst/>
          <a:ahLst/>
          <a:cxnLst/>
          <a:rect l="0" t="0" r="0" b="0"/>
          <a:pathLst>
            <a:path>
              <a:moveTo>
                <a:pt x="0" y="12106"/>
              </a:moveTo>
              <a:lnTo>
                <a:pt x="647397" y="12106"/>
              </a:lnTo>
            </a:path>
          </a:pathLst>
        </a:custGeom>
        <a:noFill/>
        <a:ln w="1587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1561738" y="1481641"/>
        <a:ext cx="32369" cy="32369"/>
      </dsp:txXfrm>
    </dsp:sp>
    <dsp:sp modelId="{3FC0E4B4-AF27-4444-BA1D-B5C2E3DB7AE4}">
      <dsp:nvSpPr>
        <dsp:cNvPr id="0" name=""/>
        <dsp:cNvSpPr/>
      </dsp:nvSpPr>
      <dsp:spPr>
        <a:xfrm>
          <a:off x="1840771" y="980344"/>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Person added to tracking tool</a:t>
          </a:r>
        </a:p>
      </dsp:txBody>
      <dsp:txXfrm>
        <a:off x="1860017" y="999590"/>
        <a:ext cx="1275749" cy="618628"/>
      </dsp:txXfrm>
    </dsp:sp>
    <dsp:sp modelId="{0E399060-66A0-4FF9-A96B-659DC5B1A7D3}">
      <dsp:nvSpPr>
        <dsp:cNvPr id="0" name=""/>
        <dsp:cNvSpPr/>
      </dsp:nvSpPr>
      <dsp:spPr>
        <a:xfrm rot="2142401">
          <a:off x="1254224" y="1863564"/>
          <a:ext cx="647397" cy="24213"/>
        </a:xfrm>
        <a:custGeom>
          <a:avLst/>
          <a:gdLst/>
          <a:ahLst/>
          <a:cxnLst/>
          <a:rect l="0" t="0" r="0" b="0"/>
          <a:pathLst>
            <a:path>
              <a:moveTo>
                <a:pt x="0" y="12106"/>
              </a:moveTo>
              <a:lnTo>
                <a:pt x="647397" y="12106"/>
              </a:lnTo>
            </a:path>
          </a:pathLst>
        </a:custGeom>
        <a:noFill/>
        <a:ln w="1587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1561738" y="1859486"/>
        <a:ext cx="32369" cy="32369"/>
      </dsp:txXfrm>
    </dsp:sp>
    <dsp:sp modelId="{4FBB273F-EDBA-4DD3-9456-46545D0F9541}">
      <dsp:nvSpPr>
        <dsp:cNvPr id="0" name=""/>
        <dsp:cNvSpPr/>
      </dsp:nvSpPr>
      <dsp:spPr>
        <a:xfrm>
          <a:off x="1840771" y="1736033"/>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HRSP continues follow-up with the department</a:t>
          </a:r>
        </a:p>
      </dsp:txBody>
      <dsp:txXfrm>
        <a:off x="1860017" y="1755279"/>
        <a:ext cx="1275749" cy="618628"/>
      </dsp:txXfrm>
    </dsp:sp>
    <dsp:sp modelId="{9B494CFB-DE70-4D76-A161-892FE4817503}">
      <dsp:nvSpPr>
        <dsp:cNvPr id="0" name=""/>
        <dsp:cNvSpPr/>
      </dsp:nvSpPr>
      <dsp:spPr>
        <a:xfrm>
          <a:off x="3155013" y="2052486"/>
          <a:ext cx="525696" cy="24213"/>
        </a:xfrm>
        <a:custGeom>
          <a:avLst/>
          <a:gdLst/>
          <a:ahLst/>
          <a:cxnLst/>
          <a:rect l="0" t="0" r="0" b="0"/>
          <a:pathLst>
            <a:path>
              <a:moveTo>
                <a:pt x="0" y="12106"/>
              </a:moveTo>
              <a:lnTo>
                <a:pt x="525696" y="12106"/>
              </a:lnTo>
            </a:path>
          </a:pathLst>
        </a:custGeom>
        <a:noFill/>
        <a:ln w="1587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3404719" y="2051451"/>
        <a:ext cx="26284" cy="26284"/>
      </dsp:txXfrm>
    </dsp:sp>
    <dsp:sp modelId="{5B7F3C07-0AFA-4C91-9C7F-6A423D9A7851}">
      <dsp:nvSpPr>
        <dsp:cNvPr id="0" name=""/>
        <dsp:cNvSpPr/>
      </dsp:nvSpPr>
      <dsp:spPr>
        <a:xfrm>
          <a:off x="3680710" y="1736033"/>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Decision</a:t>
          </a:r>
        </a:p>
      </dsp:txBody>
      <dsp:txXfrm>
        <a:off x="3699956" y="1755279"/>
        <a:ext cx="1275749" cy="618628"/>
      </dsp:txXfrm>
    </dsp:sp>
    <dsp:sp modelId="{BD78F25D-36D1-4453-9592-E4512ACA53C7}">
      <dsp:nvSpPr>
        <dsp:cNvPr id="0" name=""/>
        <dsp:cNvSpPr/>
      </dsp:nvSpPr>
      <dsp:spPr>
        <a:xfrm rot="17692822">
          <a:off x="4633049" y="1485719"/>
          <a:ext cx="1249501" cy="24213"/>
        </a:xfrm>
        <a:custGeom>
          <a:avLst/>
          <a:gdLst/>
          <a:ahLst/>
          <a:cxnLst/>
          <a:rect l="0" t="0" r="0" b="0"/>
          <a:pathLst>
            <a:path>
              <a:moveTo>
                <a:pt x="0" y="12106"/>
              </a:moveTo>
              <a:lnTo>
                <a:pt x="1249501" y="12106"/>
              </a:lnTo>
            </a:path>
          </a:pathLst>
        </a:custGeom>
        <a:noFill/>
        <a:ln w="1587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5226562" y="1466589"/>
        <a:ext cx="62475" cy="62475"/>
      </dsp:txXfrm>
    </dsp:sp>
    <dsp:sp modelId="{415129A7-323D-4D6C-B344-7F94A25A7983}">
      <dsp:nvSpPr>
        <dsp:cNvPr id="0" name=""/>
        <dsp:cNvSpPr/>
      </dsp:nvSpPr>
      <dsp:spPr>
        <a:xfrm>
          <a:off x="5520648" y="602499"/>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Renewal</a:t>
          </a:r>
        </a:p>
      </dsp:txBody>
      <dsp:txXfrm>
        <a:off x="5539894" y="621745"/>
        <a:ext cx="1275749" cy="618628"/>
      </dsp:txXfrm>
    </dsp:sp>
    <dsp:sp modelId="{32A289AC-2E51-4DDD-A011-B0DE2AB22E3E}">
      <dsp:nvSpPr>
        <dsp:cNvPr id="0" name=""/>
        <dsp:cNvSpPr/>
      </dsp:nvSpPr>
      <dsp:spPr>
        <a:xfrm>
          <a:off x="6834889" y="918953"/>
          <a:ext cx="525696" cy="24213"/>
        </a:xfrm>
        <a:custGeom>
          <a:avLst/>
          <a:gdLst/>
          <a:ahLst/>
          <a:cxnLst/>
          <a:rect l="0" t="0" r="0" b="0"/>
          <a:pathLst>
            <a:path>
              <a:moveTo>
                <a:pt x="0" y="12106"/>
              </a:moveTo>
              <a:lnTo>
                <a:pt x="525696" y="12106"/>
              </a:lnTo>
            </a:path>
          </a:pathLst>
        </a:custGeom>
        <a:noFill/>
        <a:ln w="1587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7084595" y="917917"/>
        <a:ext cx="26284" cy="26284"/>
      </dsp:txXfrm>
    </dsp:sp>
    <dsp:sp modelId="{A063F6EA-8E31-476A-A39A-BCDC26DEEFC9}">
      <dsp:nvSpPr>
        <dsp:cNvPr id="0" name=""/>
        <dsp:cNvSpPr/>
      </dsp:nvSpPr>
      <dsp:spPr>
        <a:xfrm>
          <a:off x="7360586" y="602499"/>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HRSP informs the Service Center</a:t>
          </a:r>
        </a:p>
      </dsp:txBody>
      <dsp:txXfrm>
        <a:off x="7379832" y="621745"/>
        <a:ext cx="1275749" cy="618628"/>
      </dsp:txXfrm>
    </dsp:sp>
    <dsp:sp modelId="{E4D2F386-9497-4533-9B30-C9D05907A347}">
      <dsp:nvSpPr>
        <dsp:cNvPr id="0" name=""/>
        <dsp:cNvSpPr/>
      </dsp:nvSpPr>
      <dsp:spPr>
        <a:xfrm rot="19457599">
          <a:off x="8613977" y="730031"/>
          <a:ext cx="647397" cy="24213"/>
        </a:xfrm>
        <a:custGeom>
          <a:avLst/>
          <a:gdLst/>
          <a:ahLst/>
          <a:cxnLst/>
          <a:rect l="0" t="0" r="0" b="0"/>
          <a:pathLst>
            <a:path>
              <a:moveTo>
                <a:pt x="0" y="12106"/>
              </a:moveTo>
              <a:lnTo>
                <a:pt x="647397" y="12106"/>
              </a:lnTo>
            </a:path>
          </a:pathLst>
        </a:custGeom>
        <a:noFill/>
        <a:ln w="1587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8921491" y="725953"/>
        <a:ext cx="32369" cy="32369"/>
      </dsp:txXfrm>
    </dsp:sp>
    <dsp:sp modelId="{6D3AF48B-455F-499D-8BBA-304D3140F4ED}">
      <dsp:nvSpPr>
        <dsp:cNvPr id="0" name=""/>
        <dsp:cNvSpPr/>
      </dsp:nvSpPr>
      <dsp:spPr>
        <a:xfrm>
          <a:off x="9200524" y="224655"/>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SC updates Banner and generates Notice of Appointment</a:t>
          </a:r>
        </a:p>
      </dsp:txBody>
      <dsp:txXfrm>
        <a:off x="9219770" y="243901"/>
        <a:ext cx="1275749" cy="618628"/>
      </dsp:txXfrm>
    </dsp:sp>
    <dsp:sp modelId="{BB8A0978-1676-4C65-9FB5-A25F9D8EC340}">
      <dsp:nvSpPr>
        <dsp:cNvPr id="0" name=""/>
        <dsp:cNvSpPr/>
      </dsp:nvSpPr>
      <dsp:spPr>
        <a:xfrm rot="2142401">
          <a:off x="8613977" y="1107875"/>
          <a:ext cx="647397" cy="24213"/>
        </a:xfrm>
        <a:custGeom>
          <a:avLst/>
          <a:gdLst/>
          <a:ahLst/>
          <a:cxnLst/>
          <a:rect l="0" t="0" r="0" b="0"/>
          <a:pathLst>
            <a:path>
              <a:moveTo>
                <a:pt x="0" y="12106"/>
              </a:moveTo>
              <a:lnTo>
                <a:pt x="647397" y="12106"/>
              </a:lnTo>
            </a:path>
          </a:pathLst>
        </a:custGeom>
        <a:noFill/>
        <a:ln w="1587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8921491" y="1103797"/>
        <a:ext cx="32369" cy="32369"/>
      </dsp:txXfrm>
    </dsp:sp>
    <dsp:sp modelId="{EDB1AA0C-FE6F-4AA3-A772-9751E6715537}">
      <dsp:nvSpPr>
        <dsp:cNvPr id="0" name=""/>
        <dsp:cNvSpPr/>
      </dsp:nvSpPr>
      <dsp:spPr>
        <a:xfrm>
          <a:off x="9200524" y="980344"/>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Employee receives NOA via DocuSign email process</a:t>
          </a:r>
        </a:p>
      </dsp:txBody>
      <dsp:txXfrm>
        <a:off x="9219770" y="999590"/>
        <a:ext cx="1275749" cy="618628"/>
      </dsp:txXfrm>
    </dsp:sp>
    <dsp:sp modelId="{0C3D298D-0CD7-4905-A3A5-10387C7CFD81}">
      <dsp:nvSpPr>
        <dsp:cNvPr id="0" name=""/>
        <dsp:cNvSpPr/>
      </dsp:nvSpPr>
      <dsp:spPr>
        <a:xfrm rot="3907178">
          <a:off x="4633049" y="2619253"/>
          <a:ext cx="1249501" cy="24213"/>
        </a:xfrm>
        <a:custGeom>
          <a:avLst/>
          <a:gdLst/>
          <a:ahLst/>
          <a:cxnLst/>
          <a:rect l="0" t="0" r="0" b="0"/>
          <a:pathLst>
            <a:path>
              <a:moveTo>
                <a:pt x="0" y="12106"/>
              </a:moveTo>
              <a:lnTo>
                <a:pt x="1249501" y="12106"/>
              </a:lnTo>
            </a:path>
          </a:pathLst>
        </a:custGeom>
        <a:noFill/>
        <a:ln w="1587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5226562" y="2600122"/>
        <a:ext cx="62475" cy="62475"/>
      </dsp:txXfrm>
    </dsp:sp>
    <dsp:sp modelId="{47ADABD3-B577-4867-B577-921069D284F7}">
      <dsp:nvSpPr>
        <dsp:cNvPr id="0" name=""/>
        <dsp:cNvSpPr/>
      </dsp:nvSpPr>
      <dsp:spPr>
        <a:xfrm>
          <a:off x="5520648" y="2869566"/>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Non-renewal</a:t>
          </a:r>
        </a:p>
      </dsp:txBody>
      <dsp:txXfrm>
        <a:off x="5539894" y="2888812"/>
        <a:ext cx="1275749" cy="618628"/>
      </dsp:txXfrm>
    </dsp:sp>
    <dsp:sp modelId="{8541E726-C1DE-4DC3-B49A-3A0DC74ED852}">
      <dsp:nvSpPr>
        <dsp:cNvPr id="0" name=""/>
        <dsp:cNvSpPr/>
      </dsp:nvSpPr>
      <dsp:spPr>
        <a:xfrm>
          <a:off x="6834889" y="3186019"/>
          <a:ext cx="525696" cy="24213"/>
        </a:xfrm>
        <a:custGeom>
          <a:avLst/>
          <a:gdLst/>
          <a:ahLst/>
          <a:cxnLst/>
          <a:rect l="0" t="0" r="0" b="0"/>
          <a:pathLst>
            <a:path>
              <a:moveTo>
                <a:pt x="0" y="12106"/>
              </a:moveTo>
              <a:lnTo>
                <a:pt x="525696" y="12106"/>
              </a:lnTo>
            </a:path>
          </a:pathLst>
        </a:custGeom>
        <a:noFill/>
        <a:ln w="1587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7084595" y="3184984"/>
        <a:ext cx="26284" cy="26284"/>
      </dsp:txXfrm>
    </dsp:sp>
    <dsp:sp modelId="{BC080C76-1103-4905-8A8D-A9C791A5A2F0}">
      <dsp:nvSpPr>
        <dsp:cNvPr id="0" name=""/>
        <dsp:cNvSpPr/>
      </dsp:nvSpPr>
      <dsp:spPr>
        <a:xfrm>
          <a:off x="7360586" y="2869566"/>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HRSP assists supervisor with request</a:t>
          </a:r>
        </a:p>
      </dsp:txBody>
      <dsp:txXfrm>
        <a:off x="7379832" y="2888812"/>
        <a:ext cx="1275749" cy="618628"/>
      </dsp:txXfrm>
    </dsp:sp>
    <dsp:sp modelId="{535DCD35-2423-4D03-AF25-A85244D04967}">
      <dsp:nvSpPr>
        <dsp:cNvPr id="0" name=""/>
        <dsp:cNvSpPr/>
      </dsp:nvSpPr>
      <dsp:spPr>
        <a:xfrm rot="17692822">
          <a:off x="8312925" y="2619253"/>
          <a:ext cx="1249501" cy="24213"/>
        </a:xfrm>
        <a:custGeom>
          <a:avLst/>
          <a:gdLst/>
          <a:ahLst/>
          <a:cxnLst/>
          <a:rect l="0" t="0" r="0" b="0"/>
          <a:pathLst>
            <a:path>
              <a:moveTo>
                <a:pt x="0" y="12106"/>
              </a:moveTo>
              <a:lnTo>
                <a:pt x="1249501" y="12106"/>
              </a:lnTo>
            </a:path>
          </a:pathLst>
        </a:custGeom>
        <a:noFill/>
        <a:ln w="1587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8906438" y="2600122"/>
        <a:ext cx="62475" cy="62475"/>
      </dsp:txXfrm>
    </dsp:sp>
    <dsp:sp modelId="{B7F83E09-DF8A-441C-99FC-56AFAEBF5E8E}">
      <dsp:nvSpPr>
        <dsp:cNvPr id="0" name=""/>
        <dsp:cNvSpPr/>
      </dsp:nvSpPr>
      <dsp:spPr>
        <a:xfrm>
          <a:off x="9200524" y="1736033"/>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If approved, E&amp;LR/HRSP write non-renewal letter</a:t>
          </a:r>
        </a:p>
      </dsp:txBody>
      <dsp:txXfrm>
        <a:off x="9219770" y="1755279"/>
        <a:ext cx="1275749" cy="618628"/>
      </dsp:txXfrm>
    </dsp:sp>
    <dsp:sp modelId="{623BB341-69FB-49AF-A5B8-68DDDCC739DB}">
      <dsp:nvSpPr>
        <dsp:cNvPr id="0" name=""/>
        <dsp:cNvSpPr/>
      </dsp:nvSpPr>
      <dsp:spPr>
        <a:xfrm rot="19457599">
          <a:off x="8613977" y="2997097"/>
          <a:ext cx="647397" cy="24213"/>
        </a:xfrm>
        <a:custGeom>
          <a:avLst/>
          <a:gdLst/>
          <a:ahLst/>
          <a:cxnLst/>
          <a:rect l="0" t="0" r="0" b="0"/>
          <a:pathLst>
            <a:path>
              <a:moveTo>
                <a:pt x="0" y="12106"/>
              </a:moveTo>
              <a:lnTo>
                <a:pt x="647397" y="12106"/>
              </a:lnTo>
            </a:path>
          </a:pathLst>
        </a:custGeom>
        <a:noFill/>
        <a:ln w="1587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8921491" y="2993019"/>
        <a:ext cx="32369" cy="32369"/>
      </dsp:txXfrm>
    </dsp:sp>
    <dsp:sp modelId="{71A7C931-11BD-4064-9D9C-A9963653C33F}">
      <dsp:nvSpPr>
        <dsp:cNvPr id="0" name=""/>
        <dsp:cNvSpPr/>
      </dsp:nvSpPr>
      <dsp:spPr>
        <a:xfrm>
          <a:off x="9200524" y="2491722"/>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If approved, supervisor and HR meet with employee</a:t>
          </a:r>
        </a:p>
      </dsp:txBody>
      <dsp:txXfrm>
        <a:off x="9219770" y="2510968"/>
        <a:ext cx="1275749" cy="618628"/>
      </dsp:txXfrm>
    </dsp:sp>
    <dsp:sp modelId="{5542A6EE-4C4A-4020-8103-6BEA5E406AC6}">
      <dsp:nvSpPr>
        <dsp:cNvPr id="0" name=""/>
        <dsp:cNvSpPr/>
      </dsp:nvSpPr>
      <dsp:spPr>
        <a:xfrm rot="2142401">
          <a:off x="8613977" y="3374942"/>
          <a:ext cx="647397" cy="24213"/>
        </a:xfrm>
        <a:custGeom>
          <a:avLst/>
          <a:gdLst/>
          <a:ahLst/>
          <a:cxnLst/>
          <a:rect l="0" t="0" r="0" b="0"/>
          <a:pathLst>
            <a:path>
              <a:moveTo>
                <a:pt x="0" y="12106"/>
              </a:moveTo>
              <a:lnTo>
                <a:pt x="647397" y="12106"/>
              </a:lnTo>
            </a:path>
          </a:pathLst>
        </a:custGeom>
        <a:noFill/>
        <a:ln w="1587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8921491" y="3370864"/>
        <a:ext cx="32369" cy="32369"/>
      </dsp:txXfrm>
    </dsp:sp>
    <dsp:sp modelId="{0DBE2AE3-62E3-40E2-A188-E1B960613682}">
      <dsp:nvSpPr>
        <dsp:cNvPr id="0" name=""/>
        <dsp:cNvSpPr/>
      </dsp:nvSpPr>
      <dsp:spPr>
        <a:xfrm>
          <a:off x="9200524" y="3247410"/>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HR notifies Service Center</a:t>
          </a:r>
        </a:p>
      </dsp:txBody>
      <dsp:txXfrm>
        <a:off x="9219770" y="3266656"/>
        <a:ext cx="1275749" cy="618628"/>
      </dsp:txXfrm>
    </dsp:sp>
    <dsp:sp modelId="{3E29376F-D318-48DA-9A91-FF0370C13055}">
      <dsp:nvSpPr>
        <dsp:cNvPr id="0" name=""/>
        <dsp:cNvSpPr/>
      </dsp:nvSpPr>
      <dsp:spPr>
        <a:xfrm rot="3907178">
          <a:off x="8312925" y="3752786"/>
          <a:ext cx="1249501" cy="24213"/>
        </a:xfrm>
        <a:custGeom>
          <a:avLst/>
          <a:gdLst/>
          <a:ahLst/>
          <a:cxnLst/>
          <a:rect l="0" t="0" r="0" b="0"/>
          <a:pathLst>
            <a:path>
              <a:moveTo>
                <a:pt x="0" y="12106"/>
              </a:moveTo>
              <a:lnTo>
                <a:pt x="1249501" y="12106"/>
              </a:lnTo>
            </a:path>
          </a:pathLst>
        </a:custGeom>
        <a:noFill/>
        <a:ln w="1587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latin typeface="Gill Sans"/>
            <a:ea typeface="Cambria" panose="02040503050406030204" pitchFamily="18" charset="0"/>
          </a:endParaRPr>
        </a:p>
      </dsp:txBody>
      <dsp:txXfrm>
        <a:off x="8906438" y="3733656"/>
        <a:ext cx="62475" cy="62475"/>
      </dsp:txXfrm>
    </dsp:sp>
    <dsp:sp modelId="{021A491F-1866-4801-8400-3F5CFD04726F}">
      <dsp:nvSpPr>
        <dsp:cNvPr id="0" name=""/>
        <dsp:cNvSpPr/>
      </dsp:nvSpPr>
      <dsp:spPr>
        <a:xfrm>
          <a:off x="9200524" y="4003099"/>
          <a:ext cx="1314241" cy="657120"/>
        </a:xfrm>
        <a:prstGeom prst="roundRect">
          <a:avLst>
            <a:gd name="adj" fmla="val 10000"/>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a:ea typeface="Cambria" panose="02040503050406030204" pitchFamily="18" charset="0"/>
            </a:rPr>
            <a:t>Service Center processes</a:t>
          </a:r>
        </a:p>
      </dsp:txBody>
      <dsp:txXfrm>
        <a:off x="9219770" y="4022345"/>
        <a:ext cx="1275749" cy="61862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AC7875-BF9C-438D-AF37-083F2F4ADAB2}">
      <dsp:nvSpPr>
        <dsp:cNvPr id="0" name=""/>
        <dsp:cNvSpPr/>
      </dsp:nvSpPr>
      <dsp:spPr>
        <a:xfrm>
          <a:off x="0" y="247331"/>
          <a:ext cx="11145079" cy="952875"/>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64982" tIns="229108" rIns="864982"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Gill Sans"/>
              <a:ea typeface="Cambria" panose="02040503050406030204" pitchFamily="18" charset="0"/>
            </a:rPr>
            <a:t>We cannot change FTE via the automated portion of the renewal process due to Banner limitations. </a:t>
          </a:r>
        </a:p>
        <a:p>
          <a:pPr marL="114300" lvl="1" indent="-114300" algn="l" defTabSz="622300">
            <a:lnSpc>
              <a:spcPct val="90000"/>
            </a:lnSpc>
            <a:spcBef>
              <a:spcPct val="0"/>
            </a:spcBef>
            <a:spcAft>
              <a:spcPct val="15000"/>
            </a:spcAft>
            <a:buChar char="•"/>
          </a:pPr>
          <a:r>
            <a:rPr lang="en-US" sz="1400" kern="1200" dirty="0">
              <a:latin typeface="Gill Sans"/>
              <a:ea typeface="Cambria" panose="02040503050406030204" pitchFamily="18" charset="0"/>
            </a:rPr>
            <a:t>If you need to change FTE, mark as “</a:t>
          </a:r>
          <a:r>
            <a:rPr lang="en-US" sz="1400" b="1" kern="1200" dirty="0">
              <a:latin typeface="Gill Sans"/>
              <a:ea typeface="Cambria" panose="02040503050406030204" pitchFamily="18" charset="0"/>
            </a:rPr>
            <a:t>uncertain</a:t>
          </a:r>
          <a:r>
            <a:rPr lang="en-US" sz="1400" kern="1200" dirty="0">
              <a:latin typeface="Gill Sans"/>
              <a:ea typeface="Cambria" panose="02040503050406030204" pitchFamily="18" charset="0"/>
            </a:rPr>
            <a:t>” and create a note following HRSP guidance in the notes section, and be aware that the request will be processed manually.</a:t>
          </a:r>
        </a:p>
      </dsp:txBody>
      <dsp:txXfrm>
        <a:off x="0" y="247331"/>
        <a:ext cx="11145079" cy="952875"/>
      </dsp:txXfrm>
    </dsp:sp>
    <dsp:sp modelId="{06FD7A0E-C511-4D06-83FD-8C0955670AE9}">
      <dsp:nvSpPr>
        <dsp:cNvPr id="0" name=""/>
        <dsp:cNvSpPr/>
      </dsp:nvSpPr>
      <dsp:spPr>
        <a:xfrm>
          <a:off x="557253" y="84971"/>
          <a:ext cx="7801555" cy="324720"/>
        </a:xfrm>
        <a:prstGeom prst="roundRect">
          <a:avLst/>
        </a:prstGeom>
        <a:gradFill rotWithShape="0">
          <a:gsLst>
            <a:gs pos="0">
              <a:schemeClr val="accent3">
                <a:hueOff val="0"/>
                <a:satOff val="0"/>
                <a:lumOff val="0"/>
                <a:alphaOff val="0"/>
                <a:tint val="65000"/>
                <a:shade val="92000"/>
                <a:satMod val="130000"/>
              </a:schemeClr>
            </a:gs>
            <a:gs pos="45000">
              <a:schemeClr val="accent3">
                <a:hueOff val="0"/>
                <a:satOff val="0"/>
                <a:lumOff val="0"/>
                <a:alphaOff val="0"/>
                <a:tint val="60000"/>
                <a:shade val="99000"/>
                <a:satMod val="120000"/>
              </a:schemeClr>
            </a:gs>
            <a:gs pos="100000">
              <a:schemeClr val="accent3">
                <a:hueOff val="0"/>
                <a:satOff val="0"/>
                <a:lumOff val="0"/>
                <a:alphaOff val="0"/>
                <a:tint val="55000"/>
                <a:satMod val="140000"/>
              </a:schemeClr>
            </a:gs>
          </a:gsLst>
          <a:path path="circle">
            <a:fillToRect l="100000" t="100000" r="100000" b="100000"/>
          </a:path>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94880" tIns="0" rIns="294880" bIns="0"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Gill Sans"/>
              <a:ea typeface="Cambria" panose="02040503050406030204" pitchFamily="18" charset="0"/>
            </a:rPr>
            <a:t>Trying to change FTE via the renewal process</a:t>
          </a:r>
          <a:endParaRPr lang="en-US" sz="1400" kern="1200" dirty="0">
            <a:latin typeface="Gill Sans"/>
            <a:ea typeface="Cambria" panose="02040503050406030204" pitchFamily="18" charset="0"/>
          </a:endParaRPr>
        </a:p>
      </dsp:txBody>
      <dsp:txXfrm>
        <a:off x="573105" y="100823"/>
        <a:ext cx="7769851" cy="293016"/>
      </dsp:txXfrm>
    </dsp:sp>
    <dsp:sp modelId="{DFC23F17-65DD-4A51-9512-BBDD3E41F707}">
      <dsp:nvSpPr>
        <dsp:cNvPr id="0" name=""/>
        <dsp:cNvSpPr/>
      </dsp:nvSpPr>
      <dsp:spPr>
        <a:xfrm>
          <a:off x="0" y="1421966"/>
          <a:ext cx="11145079" cy="11781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64982" tIns="229108" rIns="864982" bIns="99568" numCol="1" spcCol="1270" anchor="t" anchorCtr="0">
          <a:noAutofit/>
        </a:bodyPr>
        <a:lstStyle/>
        <a:p>
          <a:pPr marL="114300" lvl="1" indent="-114300" algn="l" defTabSz="622300">
            <a:lnSpc>
              <a:spcPct val="90000"/>
            </a:lnSpc>
            <a:spcBef>
              <a:spcPct val="0"/>
            </a:spcBef>
            <a:spcAft>
              <a:spcPct val="15000"/>
            </a:spcAft>
            <a:buChar char="•"/>
          </a:pPr>
          <a:r>
            <a:rPr lang="en-US" sz="1400" b="0" kern="1200" dirty="0">
              <a:latin typeface="Gill Sans"/>
              <a:ea typeface="Cambria" panose="02040503050406030204" pitchFamily="18" charset="0"/>
            </a:rPr>
            <a:t>Only fixed-term academic faculty who have active appointments on the day of data snapshot are reflected in the online renewal tool. If you need to renew an inactive employee, please speak with your HRSP. </a:t>
          </a:r>
        </a:p>
        <a:p>
          <a:pPr marL="114300" lvl="1" indent="-114300" algn="l" defTabSz="622300">
            <a:lnSpc>
              <a:spcPct val="90000"/>
            </a:lnSpc>
            <a:spcBef>
              <a:spcPct val="0"/>
            </a:spcBef>
            <a:spcAft>
              <a:spcPct val="15000"/>
            </a:spcAft>
            <a:buChar char="•"/>
          </a:pPr>
          <a:r>
            <a:rPr lang="en-US" sz="1400" b="0" kern="1200" dirty="0">
              <a:latin typeface="Gill Sans"/>
              <a:ea typeface="Cambria" panose="02040503050406030204" pitchFamily="18" charset="0"/>
            </a:rPr>
            <a:t>The person you are thinking of may not hold a fixed-term academic faculty appointment. Talk with your HRSP.</a:t>
          </a:r>
        </a:p>
        <a:p>
          <a:pPr marL="114300" lvl="1" indent="-114300" algn="l" defTabSz="622300">
            <a:lnSpc>
              <a:spcPct val="90000"/>
            </a:lnSpc>
            <a:spcBef>
              <a:spcPct val="0"/>
            </a:spcBef>
            <a:spcAft>
              <a:spcPct val="15000"/>
            </a:spcAft>
            <a:buChar char="•"/>
          </a:pPr>
          <a:r>
            <a:rPr lang="en-US" sz="1400" b="0" kern="1200" dirty="0">
              <a:latin typeface="Gill Sans"/>
              <a:ea typeface="Cambria" panose="02040503050406030204" pitchFamily="18" charset="0"/>
            </a:rPr>
            <a:t>Your HRSP or your department can run a list of inactive employees to ensure no one is missed.</a:t>
          </a:r>
        </a:p>
      </dsp:txBody>
      <dsp:txXfrm>
        <a:off x="0" y="1421966"/>
        <a:ext cx="11145079" cy="1178100"/>
      </dsp:txXfrm>
    </dsp:sp>
    <dsp:sp modelId="{3EDB118E-7CCD-4175-81E0-8BF649098DE9}">
      <dsp:nvSpPr>
        <dsp:cNvPr id="0" name=""/>
        <dsp:cNvSpPr/>
      </dsp:nvSpPr>
      <dsp:spPr>
        <a:xfrm>
          <a:off x="557253" y="1259606"/>
          <a:ext cx="7801555" cy="324720"/>
        </a:xfrm>
        <a:prstGeom prst="roundRect">
          <a:avLst/>
        </a:prstGeom>
        <a:gradFill rotWithShape="0">
          <a:gsLst>
            <a:gs pos="0">
              <a:schemeClr val="accent3">
                <a:hueOff val="0"/>
                <a:satOff val="0"/>
                <a:lumOff val="0"/>
                <a:alphaOff val="0"/>
                <a:tint val="65000"/>
                <a:shade val="92000"/>
                <a:satMod val="130000"/>
              </a:schemeClr>
            </a:gs>
            <a:gs pos="45000">
              <a:schemeClr val="accent3">
                <a:hueOff val="0"/>
                <a:satOff val="0"/>
                <a:lumOff val="0"/>
                <a:alphaOff val="0"/>
                <a:tint val="60000"/>
                <a:shade val="99000"/>
                <a:satMod val="120000"/>
              </a:schemeClr>
            </a:gs>
            <a:gs pos="100000">
              <a:schemeClr val="accent3">
                <a:hueOff val="0"/>
                <a:satOff val="0"/>
                <a:lumOff val="0"/>
                <a:alphaOff val="0"/>
                <a:tint val="55000"/>
                <a:satMod val="140000"/>
              </a:schemeClr>
            </a:gs>
          </a:gsLst>
          <a:path path="circle">
            <a:fillToRect l="100000" t="100000" r="100000" b="100000"/>
          </a:path>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94880" tIns="0" rIns="294880" bIns="0"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Gill Sans"/>
              <a:ea typeface="Cambria" panose="02040503050406030204" pitchFamily="18" charset="0"/>
            </a:rPr>
            <a:t>Someone you expected to see does not appear on your list in the tool</a:t>
          </a:r>
        </a:p>
      </dsp:txBody>
      <dsp:txXfrm>
        <a:off x="573105" y="1275458"/>
        <a:ext cx="7769851" cy="293016"/>
      </dsp:txXfrm>
    </dsp:sp>
    <dsp:sp modelId="{BD329902-8D3D-49FA-8569-C5FCEBE92D48}">
      <dsp:nvSpPr>
        <dsp:cNvPr id="0" name=""/>
        <dsp:cNvSpPr/>
      </dsp:nvSpPr>
      <dsp:spPr>
        <a:xfrm>
          <a:off x="0" y="2821826"/>
          <a:ext cx="11145079" cy="11781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64982" tIns="229108" rIns="864982" bIns="99568" numCol="1" spcCol="1270" anchor="t" anchorCtr="0">
          <a:noAutofit/>
        </a:bodyPr>
        <a:lstStyle/>
        <a:p>
          <a:pPr marL="114300" lvl="1" indent="-114300" algn="l" defTabSz="622300">
            <a:lnSpc>
              <a:spcPct val="90000"/>
            </a:lnSpc>
            <a:spcBef>
              <a:spcPct val="0"/>
            </a:spcBef>
            <a:spcAft>
              <a:spcPct val="15000"/>
            </a:spcAft>
            <a:buChar char="•"/>
          </a:pPr>
          <a:r>
            <a:rPr lang="en-US" sz="1400" b="0" kern="1200" dirty="0">
              <a:latin typeface="Gill Sans"/>
              <a:ea typeface="Cambria" panose="02040503050406030204" pitchFamily="18" charset="0"/>
            </a:rPr>
            <a:t>If you make a decision after the deadline, inform your HRSP. </a:t>
          </a:r>
        </a:p>
        <a:p>
          <a:pPr marL="114300" lvl="1" indent="-114300" algn="l" defTabSz="622300">
            <a:lnSpc>
              <a:spcPct val="90000"/>
            </a:lnSpc>
            <a:spcBef>
              <a:spcPct val="0"/>
            </a:spcBef>
            <a:spcAft>
              <a:spcPct val="15000"/>
            </a:spcAft>
            <a:buChar char="•"/>
          </a:pPr>
          <a:r>
            <a:rPr lang="en-US" sz="1400" b="0" kern="1200" dirty="0">
              <a:latin typeface="Gill Sans"/>
              <a:ea typeface="Cambria" panose="02040503050406030204" pitchFamily="18" charset="0"/>
            </a:rPr>
            <a:t>Once your decision is approved, the employee’s Banner record will be updated and a Notice of Appointment will be issued. </a:t>
          </a:r>
        </a:p>
        <a:p>
          <a:pPr marL="114300" lvl="1" indent="-114300" algn="l" defTabSz="622300">
            <a:lnSpc>
              <a:spcPct val="90000"/>
            </a:lnSpc>
            <a:spcBef>
              <a:spcPct val="0"/>
            </a:spcBef>
            <a:spcAft>
              <a:spcPct val="15000"/>
            </a:spcAft>
            <a:buChar char="•"/>
          </a:pPr>
          <a:r>
            <a:rPr lang="en-US" sz="1400" b="0" kern="1200" dirty="0">
              <a:latin typeface="Gill Sans"/>
              <a:ea typeface="Cambria" panose="02040503050406030204" pitchFamily="18" charset="0"/>
            </a:rPr>
            <a:t>The more changes made after the deadline, the more likely it is that human error will occur. We all want this process to be accurate and timely, for your department and to show respect for the employee.</a:t>
          </a:r>
        </a:p>
      </dsp:txBody>
      <dsp:txXfrm>
        <a:off x="0" y="2821826"/>
        <a:ext cx="11145079" cy="1178100"/>
      </dsp:txXfrm>
    </dsp:sp>
    <dsp:sp modelId="{A582BE4D-A4FB-41DE-9171-DC1C1686E4C1}">
      <dsp:nvSpPr>
        <dsp:cNvPr id="0" name=""/>
        <dsp:cNvSpPr/>
      </dsp:nvSpPr>
      <dsp:spPr>
        <a:xfrm>
          <a:off x="557253" y="2659466"/>
          <a:ext cx="7801555" cy="324720"/>
        </a:xfrm>
        <a:prstGeom prst="roundRect">
          <a:avLst/>
        </a:prstGeom>
        <a:gradFill rotWithShape="0">
          <a:gsLst>
            <a:gs pos="0">
              <a:schemeClr val="accent3">
                <a:hueOff val="0"/>
                <a:satOff val="0"/>
                <a:lumOff val="0"/>
                <a:alphaOff val="0"/>
                <a:tint val="65000"/>
                <a:shade val="92000"/>
                <a:satMod val="130000"/>
              </a:schemeClr>
            </a:gs>
            <a:gs pos="45000">
              <a:schemeClr val="accent3">
                <a:hueOff val="0"/>
                <a:satOff val="0"/>
                <a:lumOff val="0"/>
                <a:alphaOff val="0"/>
                <a:tint val="60000"/>
                <a:shade val="99000"/>
                <a:satMod val="120000"/>
              </a:schemeClr>
            </a:gs>
            <a:gs pos="100000">
              <a:schemeClr val="accent3">
                <a:hueOff val="0"/>
                <a:satOff val="0"/>
                <a:lumOff val="0"/>
                <a:alphaOff val="0"/>
                <a:tint val="55000"/>
                <a:satMod val="140000"/>
              </a:schemeClr>
            </a:gs>
          </a:gsLst>
          <a:path path="circle">
            <a:fillToRect l="100000" t="100000" r="100000" b="100000"/>
          </a:path>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94880" tIns="0" rIns="294880" bIns="0"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Gill Sans"/>
              <a:ea typeface="Cambria" panose="02040503050406030204" pitchFamily="18" charset="0"/>
            </a:rPr>
            <a:t>Changes to renewal decisions after the deadline</a:t>
          </a:r>
        </a:p>
      </dsp:txBody>
      <dsp:txXfrm>
        <a:off x="573105" y="2675318"/>
        <a:ext cx="7769851" cy="293016"/>
      </dsp:txXfrm>
    </dsp:sp>
    <dsp:sp modelId="{B4F55807-8DF2-45D8-8BFA-2797E1D0A494}">
      <dsp:nvSpPr>
        <dsp:cNvPr id="0" name=""/>
        <dsp:cNvSpPr/>
      </dsp:nvSpPr>
      <dsp:spPr>
        <a:xfrm>
          <a:off x="0" y="4221686"/>
          <a:ext cx="11145079" cy="7623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64982" tIns="229108" rIns="864982" bIns="99568" numCol="1" spcCol="1270" anchor="t" anchorCtr="0">
          <a:noAutofit/>
        </a:bodyPr>
        <a:lstStyle/>
        <a:p>
          <a:pPr marL="114300" lvl="1" indent="-114300" algn="l" defTabSz="622300">
            <a:lnSpc>
              <a:spcPct val="90000"/>
            </a:lnSpc>
            <a:spcBef>
              <a:spcPct val="0"/>
            </a:spcBef>
            <a:spcAft>
              <a:spcPct val="15000"/>
            </a:spcAft>
            <a:buChar char="•"/>
          </a:pPr>
          <a:r>
            <a:rPr lang="en-US" sz="1400" b="0" kern="1200" dirty="0">
              <a:latin typeface="Gill Sans"/>
              <a:ea typeface="Cambria" panose="02040503050406030204" pitchFamily="18" charset="0"/>
            </a:rPr>
            <a:t>All users have the ability to download their data. We suggest downloading in CSV format, which is easily manipulated in Excel.</a:t>
          </a:r>
        </a:p>
        <a:p>
          <a:pPr marL="114300" lvl="1" indent="-114300" algn="l" defTabSz="622300">
            <a:lnSpc>
              <a:spcPct val="90000"/>
            </a:lnSpc>
            <a:spcBef>
              <a:spcPct val="0"/>
            </a:spcBef>
            <a:spcAft>
              <a:spcPct val="15000"/>
            </a:spcAft>
            <a:buChar char="•"/>
          </a:pPr>
          <a:r>
            <a:rPr lang="en-US" sz="1400" b="0" kern="1200" dirty="0">
              <a:latin typeface="Gill Sans"/>
              <a:ea typeface="Cambria" panose="02040503050406030204" pitchFamily="18" charset="0"/>
            </a:rPr>
            <a:t>Please download on or before April 28</a:t>
          </a:r>
          <a:r>
            <a:rPr lang="en-US" sz="1400" b="0" kern="1200" baseline="30000" dirty="0">
              <a:latin typeface="Gill Sans"/>
              <a:ea typeface="Cambria" panose="02040503050406030204" pitchFamily="18" charset="0"/>
            </a:rPr>
            <a:t>th</a:t>
          </a:r>
          <a:r>
            <a:rPr lang="en-US" sz="1400" b="0" kern="1200" dirty="0">
              <a:latin typeface="Gill Sans"/>
              <a:ea typeface="Cambria" panose="02040503050406030204" pitchFamily="18" charset="0"/>
            </a:rPr>
            <a:t>, 2026. </a:t>
          </a:r>
        </a:p>
      </dsp:txBody>
      <dsp:txXfrm>
        <a:off x="0" y="4221686"/>
        <a:ext cx="11145079" cy="762300"/>
      </dsp:txXfrm>
    </dsp:sp>
    <dsp:sp modelId="{B2261305-E3C2-4DEA-9B09-084FDC1551E8}">
      <dsp:nvSpPr>
        <dsp:cNvPr id="0" name=""/>
        <dsp:cNvSpPr/>
      </dsp:nvSpPr>
      <dsp:spPr>
        <a:xfrm>
          <a:off x="557253" y="4059326"/>
          <a:ext cx="7801555" cy="324720"/>
        </a:xfrm>
        <a:prstGeom prst="roundRect">
          <a:avLst/>
        </a:prstGeom>
        <a:gradFill rotWithShape="0">
          <a:gsLst>
            <a:gs pos="0">
              <a:schemeClr val="accent3">
                <a:hueOff val="0"/>
                <a:satOff val="0"/>
                <a:lumOff val="0"/>
                <a:alphaOff val="0"/>
                <a:tint val="65000"/>
                <a:shade val="92000"/>
                <a:satMod val="130000"/>
              </a:schemeClr>
            </a:gs>
            <a:gs pos="45000">
              <a:schemeClr val="accent3">
                <a:hueOff val="0"/>
                <a:satOff val="0"/>
                <a:lumOff val="0"/>
                <a:alphaOff val="0"/>
                <a:tint val="60000"/>
                <a:shade val="99000"/>
                <a:satMod val="120000"/>
              </a:schemeClr>
            </a:gs>
            <a:gs pos="100000">
              <a:schemeClr val="accent3">
                <a:hueOff val="0"/>
                <a:satOff val="0"/>
                <a:lumOff val="0"/>
                <a:alphaOff val="0"/>
                <a:tint val="55000"/>
                <a:satMod val="140000"/>
              </a:schemeClr>
            </a:gs>
          </a:gsLst>
          <a:path path="circle">
            <a:fillToRect l="100000" t="100000" r="100000" b="100000"/>
          </a:path>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94880" tIns="0" rIns="294880" bIns="0"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Gill Sans"/>
              <a:ea typeface="Cambria" panose="02040503050406030204" pitchFamily="18" charset="0"/>
            </a:rPr>
            <a:t>Your department needs to know what was recorded</a:t>
          </a:r>
        </a:p>
      </dsp:txBody>
      <dsp:txXfrm>
        <a:off x="573105" y="4075178"/>
        <a:ext cx="7769851" cy="293016"/>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2"/>
            <a:ext cx="3037840" cy="466434"/>
          </a:xfrm>
          <a:prstGeom prst="rect">
            <a:avLst/>
          </a:prstGeom>
        </p:spPr>
        <p:txBody>
          <a:bodyPr vert="horz" lIns="93177" tIns="46589" rIns="93177" bIns="46589" rtlCol="0"/>
          <a:lstStyle>
            <a:lvl1pPr algn="r">
              <a:defRPr sz="1200"/>
            </a:lvl1pPr>
          </a:lstStyle>
          <a:p>
            <a:fld id="{32E3BBE8-A10C-4244-AB6F-2724409C81ED}" type="datetimeFigureOut">
              <a:rPr lang="en-US" smtClean="0"/>
              <a:t>4/16/202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72D7F85-C600-4E05-B9C3-8A2577CE8113}" type="slidenum">
              <a:rPr lang="en-US" smtClean="0"/>
              <a:t>‹#›</a:t>
            </a:fld>
            <a:endParaRPr lang="en-US"/>
          </a:p>
        </p:txBody>
      </p:sp>
    </p:spTree>
    <p:extLst>
      <p:ext uri="{BB962C8B-B14F-4D97-AF65-F5344CB8AC3E}">
        <p14:creationId xmlns:p14="http://schemas.microsoft.com/office/powerpoint/2010/main" val="2780179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a:t>
            </a:fld>
            <a:endParaRPr lang="en-US"/>
          </a:p>
        </p:txBody>
      </p:sp>
    </p:spTree>
    <p:extLst>
      <p:ext uri="{BB962C8B-B14F-4D97-AF65-F5344CB8AC3E}">
        <p14:creationId xmlns:p14="http://schemas.microsoft.com/office/powerpoint/2010/main" val="19748821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AD0EC-891E-B098-6A9C-6AF592FA19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C86B0D-A945-508E-C4D8-99490F705ABE}"/>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94D29A32-4358-61B9-393D-34EC8B796D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B6104E7-59F8-8CA4-BF60-9E84BBE24AC3}"/>
              </a:ext>
            </a:extLst>
          </p:cNvPr>
          <p:cNvSpPr>
            <a:spLocks noGrp="1"/>
          </p:cNvSpPr>
          <p:nvPr>
            <p:ph type="sldNum" sz="quarter" idx="5"/>
          </p:nvPr>
        </p:nvSpPr>
        <p:spPr/>
        <p:txBody>
          <a:bodyPr/>
          <a:lstStyle/>
          <a:p>
            <a:fld id="{972D7F85-C600-4E05-B9C3-8A2577CE8113}" type="slidenum">
              <a:rPr lang="en-US" smtClean="0"/>
              <a:t>11</a:t>
            </a:fld>
            <a:endParaRPr lang="en-US"/>
          </a:p>
        </p:txBody>
      </p:sp>
    </p:spTree>
    <p:extLst>
      <p:ext uri="{BB962C8B-B14F-4D97-AF65-F5344CB8AC3E}">
        <p14:creationId xmlns:p14="http://schemas.microsoft.com/office/powerpoint/2010/main" val="10090290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General navigation</a:t>
            </a:r>
          </a:p>
          <a:p>
            <a:pPr lvl="1"/>
            <a:r>
              <a:rPr lang="en-US" sz="1200" kern="1200" dirty="0">
                <a:solidFill>
                  <a:schemeClr val="tx1"/>
                </a:solidFill>
                <a:effectLst/>
                <a:latin typeface="+mn-lt"/>
                <a:ea typeface="+mn-ea"/>
                <a:cs typeface="+mn-cs"/>
              </a:rPr>
              <a:t>Grant funding</a:t>
            </a:r>
          </a:p>
          <a:p>
            <a:pPr lvl="1"/>
            <a:r>
              <a:rPr lang="en-US" sz="1200" kern="1200" dirty="0">
                <a:solidFill>
                  <a:schemeClr val="tx1"/>
                </a:solidFill>
                <a:effectLst/>
                <a:latin typeface="+mn-lt"/>
                <a:ea typeface="+mn-ea"/>
                <a:cs typeface="+mn-cs"/>
              </a:rPr>
              <a:t>Enrollment</a:t>
            </a:r>
          </a:p>
          <a:p>
            <a:pPr lvl="0"/>
            <a:r>
              <a:rPr lang="en-US" sz="1200" kern="1200" dirty="0">
                <a:solidFill>
                  <a:schemeClr val="tx1"/>
                </a:solidFill>
                <a:effectLst/>
                <a:latin typeface="+mn-lt"/>
                <a:ea typeface="+mn-ea"/>
                <a:cs typeface="+mn-cs"/>
              </a:rPr>
              <a:t>Uncertains:</a:t>
            </a:r>
          </a:p>
          <a:p>
            <a:pPr lvl="1"/>
            <a:r>
              <a:rPr lang="en-US" sz="1200" kern="1200" dirty="0">
                <a:solidFill>
                  <a:schemeClr val="tx1"/>
                </a:solidFill>
                <a:effectLst/>
                <a:latin typeface="+mn-lt"/>
                <a:ea typeface="+mn-ea"/>
                <a:cs typeface="+mn-cs"/>
              </a:rPr>
              <a:t>Timelines</a:t>
            </a:r>
          </a:p>
          <a:p>
            <a:pPr lvl="1"/>
            <a:r>
              <a:rPr lang="en-US" sz="1200" kern="1200" dirty="0">
                <a:solidFill>
                  <a:schemeClr val="tx1"/>
                </a:solidFill>
                <a:effectLst/>
                <a:latin typeface="+mn-lt"/>
                <a:ea typeface="+mn-ea"/>
                <a:cs typeface="+mn-cs"/>
              </a:rPr>
              <a:t>Types of uncertains:</a:t>
            </a:r>
          </a:p>
          <a:p>
            <a:pPr lvl="2"/>
            <a:r>
              <a:rPr lang="en-US" sz="1200" kern="1200" dirty="0">
                <a:solidFill>
                  <a:schemeClr val="tx1"/>
                </a:solidFill>
                <a:effectLst/>
                <a:latin typeface="+mn-lt"/>
                <a:ea typeface="+mn-ea"/>
                <a:cs typeface="+mn-cs"/>
              </a:rPr>
              <a:t>Actual intended non-renewals</a:t>
            </a:r>
          </a:p>
          <a:p>
            <a:pPr lvl="2"/>
            <a:r>
              <a:rPr lang="en-US" sz="1200" kern="1200" dirty="0">
                <a:solidFill>
                  <a:schemeClr val="tx1"/>
                </a:solidFill>
                <a:effectLst/>
                <a:latin typeface="+mn-lt"/>
                <a:ea typeface="+mn-ea"/>
                <a:cs typeface="+mn-cs"/>
              </a:rPr>
              <a:t>Retirements/ Resignations</a:t>
            </a:r>
          </a:p>
          <a:p>
            <a:pPr lvl="2"/>
            <a:r>
              <a:rPr lang="en-US" sz="1200" kern="1200" dirty="0">
                <a:solidFill>
                  <a:schemeClr val="tx1"/>
                </a:solidFill>
                <a:effectLst/>
                <a:latin typeface="+mn-lt"/>
                <a:ea typeface="+mn-ea"/>
                <a:cs typeface="+mn-cs"/>
              </a:rPr>
              <a:t>Variable FTE/ appointment dates?</a:t>
            </a:r>
          </a:p>
          <a:p>
            <a:pPr lvl="0"/>
            <a:r>
              <a:rPr lang="en-US" sz="1200" kern="1200" dirty="0">
                <a:solidFill>
                  <a:schemeClr val="tx1"/>
                </a:solidFill>
                <a:effectLst/>
                <a:latin typeface="+mn-lt"/>
                <a:ea typeface="+mn-ea"/>
                <a:cs typeface="+mn-cs"/>
              </a:rPr>
              <a:t>Contract Changes: FTE, # terms, duration of contract</a:t>
            </a:r>
          </a:p>
          <a:p>
            <a:pPr lvl="1"/>
            <a:r>
              <a:rPr lang="en-US" sz="1200" kern="1200" dirty="0">
                <a:solidFill>
                  <a:schemeClr val="tx1"/>
                </a:solidFill>
                <a:effectLst/>
                <a:latin typeface="+mn-lt"/>
                <a:ea typeface="+mn-ea"/>
                <a:cs typeface="+mn-cs"/>
              </a:rPr>
              <a:t>Promoted</a:t>
            </a:r>
          </a:p>
          <a:p>
            <a:pPr lvl="2"/>
            <a:r>
              <a:rPr lang="en-US" sz="1200" kern="1200" dirty="0">
                <a:solidFill>
                  <a:schemeClr val="tx1"/>
                </a:solidFill>
                <a:effectLst/>
                <a:latin typeface="+mn-lt"/>
                <a:ea typeface="+mn-ea"/>
                <a:cs typeface="+mn-cs"/>
              </a:rPr>
              <a:t>Mutual Agreement</a:t>
            </a:r>
          </a:p>
          <a:p>
            <a:pPr lvl="1"/>
            <a:r>
              <a:rPr lang="en-US" sz="1200" kern="1200" dirty="0">
                <a:solidFill>
                  <a:schemeClr val="tx1"/>
                </a:solidFill>
                <a:effectLst/>
                <a:latin typeface="+mn-lt"/>
                <a:ea typeface="+mn-ea"/>
                <a:cs typeface="+mn-cs"/>
              </a:rPr>
              <a:t>Non-promoted</a:t>
            </a:r>
          </a:p>
          <a:p>
            <a:pPr lvl="1"/>
            <a:r>
              <a:rPr lang="en-US" sz="1200" kern="1200" dirty="0">
                <a:solidFill>
                  <a:schemeClr val="tx1"/>
                </a:solidFill>
                <a:effectLst/>
                <a:latin typeface="+mn-lt"/>
                <a:ea typeface="+mn-ea"/>
                <a:cs typeface="+mn-cs"/>
              </a:rPr>
              <a:t>Please communicate with HRSP</a:t>
            </a:r>
          </a:p>
          <a:p>
            <a:pPr lvl="0"/>
            <a:r>
              <a:rPr lang="en-US" sz="1200" kern="1200" dirty="0">
                <a:solidFill>
                  <a:schemeClr val="tx1"/>
                </a:solidFill>
                <a:effectLst/>
                <a:latin typeface="+mn-lt"/>
                <a:ea typeface="+mn-ea"/>
                <a:cs typeface="+mn-cs"/>
              </a:rPr>
              <a:t>Non-renewals</a:t>
            </a:r>
          </a:p>
          <a:p>
            <a:pPr lvl="1"/>
            <a:r>
              <a:rPr lang="en-US" sz="1200" kern="1200" dirty="0">
                <a:solidFill>
                  <a:schemeClr val="tx1"/>
                </a:solidFill>
                <a:effectLst/>
                <a:latin typeface="+mn-lt"/>
                <a:ea typeface="+mn-ea"/>
                <a:cs typeface="+mn-cs"/>
              </a:rPr>
              <a:t>Partner with HRSP immediately</a:t>
            </a:r>
          </a:p>
          <a:p>
            <a:pPr lvl="1"/>
            <a:r>
              <a:rPr lang="en-US" sz="1200" kern="1200" dirty="0">
                <a:solidFill>
                  <a:schemeClr val="tx1"/>
                </a:solidFill>
                <a:effectLst/>
                <a:latin typeface="+mn-lt"/>
                <a:ea typeface="+mn-ea"/>
                <a:cs typeface="+mn-cs"/>
              </a:rPr>
              <a:t>Business Case/ Review of request</a:t>
            </a:r>
          </a:p>
          <a:p>
            <a:pPr lvl="1"/>
            <a:r>
              <a:rPr lang="en-US" sz="1200" kern="1200" dirty="0">
                <a:solidFill>
                  <a:schemeClr val="tx1"/>
                </a:solidFill>
                <a:effectLst/>
                <a:latin typeface="+mn-lt"/>
                <a:ea typeface="+mn-ea"/>
                <a:cs typeface="+mn-cs"/>
              </a:rPr>
              <a:t>Approvals</a:t>
            </a:r>
          </a:p>
          <a:p>
            <a:pPr lvl="1"/>
            <a:r>
              <a:rPr lang="en-US" sz="1200" kern="1200" dirty="0">
                <a:solidFill>
                  <a:schemeClr val="tx1"/>
                </a:solidFill>
                <a:effectLst/>
                <a:latin typeface="+mn-lt"/>
                <a:ea typeface="+mn-ea"/>
                <a:cs typeface="+mn-cs"/>
              </a:rPr>
              <a:t>Notification process and deadlines</a:t>
            </a:r>
          </a:p>
          <a:p>
            <a:pPr lvl="1"/>
            <a:r>
              <a:rPr lang="en-US" sz="1200" kern="1200" dirty="0">
                <a:solidFill>
                  <a:schemeClr val="tx1"/>
                </a:solidFill>
                <a:effectLst/>
                <a:latin typeface="+mn-lt"/>
                <a:ea typeface="+mn-ea"/>
                <a:cs typeface="+mn-cs"/>
              </a:rPr>
              <a:t>What happens if I’ve missed the notice window for non-renewing this fiscal yea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FDAD5E-CCC7-41B0-8A74-30C6AD146B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8128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FDAD5E-CCC7-41B0-8A74-30C6AD146B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99171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FDAD5E-CCC7-41B0-8A74-30C6AD146B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12229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FDAD5E-CCC7-41B0-8A74-30C6AD146B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25614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32</a:t>
            </a:fld>
            <a:endParaRPr lang="en-US"/>
          </a:p>
        </p:txBody>
      </p:sp>
    </p:spTree>
    <p:extLst>
      <p:ext uri="{BB962C8B-B14F-4D97-AF65-F5344CB8AC3E}">
        <p14:creationId xmlns:p14="http://schemas.microsoft.com/office/powerpoint/2010/main" val="5171180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33</a:t>
            </a:fld>
            <a:endParaRPr lang="en-US"/>
          </a:p>
        </p:txBody>
      </p:sp>
    </p:spTree>
    <p:extLst>
      <p:ext uri="{BB962C8B-B14F-4D97-AF65-F5344CB8AC3E}">
        <p14:creationId xmlns:p14="http://schemas.microsoft.com/office/powerpoint/2010/main" val="1427617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2D7F85-C600-4E05-B9C3-8A2577CE81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442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3</a:t>
            </a:fld>
            <a:endParaRPr lang="en-US"/>
          </a:p>
        </p:txBody>
      </p:sp>
    </p:spTree>
    <p:extLst>
      <p:ext uri="{BB962C8B-B14F-4D97-AF65-F5344CB8AC3E}">
        <p14:creationId xmlns:p14="http://schemas.microsoft.com/office/powerpoint/2010/main" val="1608037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69294-7E98-4ECA-20E6-DEB9645BF1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3FBB71-11B4-6E9E-4CB5-C6DA30D14BDB}"/>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D7A5A312-214C-67EB-7A34-371C791C489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1163375-9334-61AD-2A56-D6D07E630D6B}"/>
              </a:ext>
            </a:extLst>
          </p:cNvPr>
          <p:cNvSpPr>
            <a:spLocks noGrp="1"/>
          </p:cNvSpPr>
          <p:nvPr>
            <p:ph type="sldNum" sz="quarter" idx="5"/>
          </p:nvPr>
        </p:nvSpPr>
        <p:spPr/>
        <p:txBody>
          <a:bodyPr/>
          <a:lstStyle/>
          <a:p>
            <a:fld id="{972D7F85-C600-4E05-B9C3-8A2577CE8113}" type="slidenum">
              <a:rPr lang="en-US" smtClean="0"/>
              <a:t>4</a:t>
            </a:fld>
            <a:endParaRPr lang="en-US"/>
          </a:p>
        </p:txBody>
      </p:sp>
    </p:spTree>
    <p:extLst>
      <p:ext uri="{BB962C8B-B14F-4D97-AF65-F5344CB8AC3E}">
        <p14:creationId xmlns:p14="http://schemas.microsoft.com/office/powerpoint/2010/main" val="4024679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458D0-FA23-534C-1FC2-5E609E25A0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6E49B8-F520-4ABB-451B-F0A3960C1A19}"/>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1D771F4A-70B2-9FA0-2D15-A84E5B7FB9C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2D72F43-B12C-A851-C5B9-0ED8CCD400A8}"/>
              </a:ext>
            </a:extLst>
          </p:cNvPr>
          <p:cNvSpPr>
            <a:spLocks noGrp="1"/>
          </p:cNvSpPr>
          <p:nvPr>
            <p:ph type="sldNum" sz="quarter" idx="5"/>
          </p:nvPr>
        </p:nvSpPr>
        <p:spPr/>
        <p:txBody>
          <a:bodyPr/>
          <a:lstStyle/>
          <a:p>
            <a:fld id="{972D7F85-C600-4E05-B9C3-8A2577CE8113}" type="slidenum">
              <a:rPr lang="en-US" smtClean="0"/>
              <a:t>5</a:t>
            </a:fld>
            <a:endParaRPr lang="en-US"/>
          </a:p>
        </p:txBody>
      </p:sp>
    </p:spTree>
    <p:extLst>
      <p:ext uri="{BB962C8B-B14F-4D97-AF65-F5344CB8AC3E}">
        <p14:creationId xmlns:p14="http://schemas.microsoft.com/office/powerpoint/2010/main" val="27014226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0EAED7-0D43-E6D3-7772-447814202E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382C1C-B8AD-0B39-FA04-CAB467F5C1F6}"/>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D3F8E941-3F58-A17C-F001-FC67717AC5D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35FC2FE-069B-594E-E222-E5C4E0F91F70}"/>
              </a:ext>
            </a:extLst>
          </p:cNvPr>
          <p:cNvSpPr>
            <a:spLocks noGrp="1"/>
          </p:cNvSpPr>
          <p:nvPr>
            <p:ph type="sldNum" sz="quarter" idx="5"/>
          </p:nvPr>
        </p:nvSpPr>
        <p:spPr/>
        <p:txBody>
          <a:bodyPr/>
          <a:lstStyle/>
          <a:p>
            <a:fld id="{972D7F85-C600-4E05-B9C3-8A2577CE8113}" type="slidenum">
              <a:rPr lang="en-US" smtClean="0"/>
              <a:t>6</a:t>
            </a:fld>
            <a:endParaRPr lang="en-US"/>
          </a:p>
        </p:txBody>
      </p:sp>
    </p:spTree>
    <p:extLst>
      <p:ext uri="{BB962C8B-B14F-4D97-AF65-F5344CB8AC3E}">
        <p14:creationId xmlns:p14="http://schemas.microsoft.com/office/powerpoint/2010/main" val="7360626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77D914-D02A-6326-4EB1-076A3DA41B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1DE361-59BE-219E-ABBE-24A37AD47000}"/>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92499274-2BC3-1DED-6AB7-0B2B3E75BF1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4615561-66CF-16A9-29C0-658C55AFAF88}"/>
              </a:ext>
            </a:extLst>
          </p:cNvPr>
          <p:cNvSpPr>
            <a:spLocks noGrp="1"/>
          </p:cNvSpPr>
          <p:nvPr>
            <p:ph type="sldNum" sz="quarter" idx="5"/>
          </p:nvPr>
        </p:nvSpPr>
        <p:spPr/>
        <p:txBody>
          <a:bodyPr/>
          <a:lstStyle/>
          <a:p>
            <a:fld id="{972D7F85-C600-4E05-B9C3-8A2577CE8113}" type="slidenum">
              <a:rPr lang="en-US" smtClean="0"/>
              <a:t>7</a:t>
            </a:fld>
            <a:endParaRPr lang="en-US"/>
          </a:p>
        </p:txBody>
      </p:sp>
    </p:spTree>
    <p:extLst>
      <p:ext uri="{BB962C8B-B14F-4D97-AF65-F5344CB8AC3E}">
        <p14:creationId xmlns:p14="http://schemas.microsoft.com/office/powerpoint/2010/main" val="1196868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6BB41-1D45-DCF6-BDA0-92F02A1675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677BB0-D085-5E76-DBE4-0217C26D1817}"/>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1849B3C0-55B7-B866-6D05-B2640B4E352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ACF62E6-5D54-37D4-BF72-84FF5487F5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2D7F85-C600-4E05-B9C3-8A2577CE81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1215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48A658-F4F4-B8F0-5926-50D27DDD54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CDD9F1-8AAC-C2FC-4B76-29DEC6C90389}"/>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9251CD9B-2A59-1675-A1E6-CCA8D829185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D31E15-BED4-1A86-84F4-67971EE9609F}"/>
              </a:ext>
            </a:extLst>
          </p:cNvPr>
          <p:cNvSpPr>
            <a:spLocks noGrp="1"/>
          </p:cNvSpPr>
          <p:nvPr>
            <p:ph type="sldNum" sz="quarter" idx="5"/>
          </p:nvPr>
        </p:nvSpPr>
        <p:spPr/>
        <p:txBody>
          <a:bodyPr/>
          <a:lstStyle/>
          <a:p>
            <a:fld id="{972D7F85-C600-4E05-B9C3-8A2577CE8113}" type="slidenum">
              <a:rPr lang="en-US" smtClean="0"/>
              <a:t>10</a:t>
            </a:fld>
            <a:endParaRPr lang="en-US"/>
          </a:p>
        </p:txBody>
      </p:sp>
    </p:spTree>
    <p:extLst>
      <p:ext uri="{BB962C8B-B14F-4D97-AF65-F5344CB8AC3E}">
        <p14:creationId xmlns:p14="http://schemas.microsoft.com/office/powerpoint/2010/main" val="2389097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sv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sv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sv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svg"/><Relationship Id="rId1" Type="http://schemas.openxmlformats.org/officeDocument/2006/relationships/slideMaster" Target="../slideMasters/slideMaster2.xml"/><Relationship Id="rId6" Type="http://schemas.openxmlformats.org/officeDocument/2006/relationships/image" Target="../media/image21.svg"/><Relationship Id="rId5" Type="http://schemas.openxmlformats.org/officeDocument/2006/relationships/image" Target="../media/image20.sv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9.sv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2.sv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2.sv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9.sv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3.sv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9.sv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9.sv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4.emf"/><Relationship Id="rId4" Type="http://schemas.openxmlformats.org/officeDocument/2006/relationships/oleObject" Target="../embeddings/oleObject1.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10" name="Group 9"/>
          <p:cNvGrpSpPr/>
          <p:nvPr userDrawn="1"/>
        </p:nvGrpSpPr>
        <p:grpSpPr>
          <a:xfrm>
            <a:off x="7696199" y="0"/>
            <a:ext cx="4572003" cy="6858000"/>
            <a:chOff x="0" y="0"/>
            <a:chExt cx="4572002" cy="6858000"/>
          </a:xfrm>
        </p:grpSpPr>
        <p:sp>
          <p:nvSpPr>
            <p:cNvPr id="11" name="Rectangle 1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t="87953" r="49988"/>
            <a:stretch/>
          </p:blipFill>
          <p:spPr>
            <a:xfrm>
              <a:off x="0" y="6031832"/>
              <a:ext cx="4572001" cy="826168"/>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997955" cy="6858000"/>
          </a:xfrm>
          <a:prstGeom prst="rect">
            <a:avLst/>
          </a:prstGeom>
        </p:spPr>
      </p:pic>
      <p:sp>
        <p:nvSpPr>
          <p:cNvPr id="2" name="Title 1"/>
          <p:cNvSpPr>
            <a:spLocks noGrp="1"/>
          </p:cNvSpPr>
          <p:nvPr>
            <p:ph type="ctrTitle" hasCustomPrompt="1"/>
          </p:nvPr>
        </p:nvSpPr>
        <p:spPr>
          <a:xfrm>
            <a:off x="609600" y="1122363"/>
            <a:ext cx="7716253" cy="2387600"/>
          </a:xfrm>
        </p:spPr>
        <p:txBody>
          <a:bodyPr anchor="b" anchorCtr="0">
            <a:normAutofit/>
          </a:bodyPr>
          <a:lstStyle>
            <a:lvl1pPr algn="l">
              <a:defRPr sz="40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Subtitle 2"/>
          <p:cNvSpPr>
            <a:spLocks noGrp="1"/>
          </p:cNvSpPr>
          <p:nvPr>
            <p:ph type="subTitle" idx="1"/>
          </p:nvPr>
        </p:nvSpPr>
        <p:spPr>
          <a:xfrm>
            <a:off x="609600" y="3602038"/>
            <a:ext cx="7716253" cy="1655762"/>
          </a:xfrm>
        </p:spPr>
        <p:txBody>
          <a:bodyPr anchor="t" anchorCtr="0">
            <a:normAutofit/>
          </a:bodyPr>
          <a:lstStyle>
            <a:lvl1pPr marL="0" indent="0" algn="l">
              <a:buNone/>
              <a:defRPr sz="3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8" name="Picture 7" descr="Oregon State University"/>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38761" y="4741560"/>
            <a:ext cx="1165484" cy="1216633"/>
          </a:xfrm>
          <a:prstGeom prst="rect">
            <a:avLst/>
          </a:prstGeom>
        </p:spPr>
      </p:pic>
    </p:spTree>
    <p:extLst>
      <p:ext uri="{BB962C8B-B14F-4D97-AF65-F5344CB8AC3E}">
        <p14:creationId xmlns:p14="http://schemas.microsoft.com/office/powerpoint/2010/main" val="2171186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25119"/>
          <a:stretch/>
        </p:blipFill>
        <p:spPr>
          <a:xfrm>
            <a:off x="-430" y="10633"/>
            <a:ext cx="12192431" cy="6847367"/>
          </a:xfrm>
          <a:prstGeom prst="rect">
            <a:avLst/>
          </a:prstGeom>
        </p:spPr>
      </p:pic>
      <p:grpSp>
        <p:nvGrpSpPr>
          <p:cNvPr id="6" name="Group 5"/>
          <p:cNvGrpSpPr/>
          <p:nvPr userDrawn="1"/>
        </p:nvGrpSpPr>
        <p:grpSpPr>
          <a:xfrm>
            <a:off x="2194" y="0"/>
            <a:ext cx="12189807" cy="2923082"/>
            <a:chOff x="0" y="0"/>
            <a:chExt cx="9141806" cy="2923082"/>
          </a:xfrm>
        </p:grpSpPr>
        <p:sp>
          <p:nvSpPr>
            <p:cNvPr id="7" name="Rectangle 6"/>
            <p:cNvSpPr/>
            <p:nvPr/>
          </p:nvSpPr>
          <p:spPr>
            <a:xfrm>
              <a:off x="0" y="0"/>
              <a:ext cx="9141806" cy="2923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rcRect b="57377"/>
            <a:stretch>
              <a:fillRect/>
            </a:stretch>
          </p:blipFill>
          <p:spPr>
            <a:xfrm>
              <a:off x="0" y="0"/>
              <a:ext cx="9141806" cy="2923082"/>
            </a:xfrm>
            <a:custGeom>
              <a:avLst/>
              <a:gdLst>
                <a:gd name="connsiteX0" fmla="*/ 0 w 9141806"/>
                <a:gd name="connsiteY0" fmla="*/ 0 h 2923082"/>
                <a:gd name="connsiteX1" fmla="*/ 9141806 w 9141806"/>
                <a:gd name="connsiteY1" fmla="*/ 0 h 2923082"/>
                <a:gd name="connsiteX2" fmla="*/ 9141806 w 9141806"/>
                <a:gd name="connsiteY2" fmla="*/ 2923082 h 2923082"/>
                <a:gd name="connsiteX3" fmla="*/ 0 w 9141806"/>
                <a:gd name="connsiteY3" fmla="*/ 2923082 h 2923082"/>
              </a:gdLst>
              <a:ahLst/>
              <a:cxnLst>
                <a:cxn ang="0">
                  <a:pos x="connsiteX0" y="connsiteY0"/>
                </a:cxn>
                <a:cxn ang="0">
                  <a:pos x="connsiteX1" y="connsiteY1"/>
                </a:cxn>
                <a:cxn ang="0">
                  <a:pos x="connsiteX2" y="connsiteY2"/>
                </a:cxn>
                <a:cxn ang="0">
                  <a:pos x="connsiteX3" y="connsiteY3"/>
                </a:cxn>
              </a:cxnLst>
              <a:rect l="l" t="t" r="r" b="b"/>
              <a:pathLst>
                <a:path w="9141806" h="2923082">
                  <a:moveTo>
                    <a:pt x="0" y="0"/>
                  </a:moveTo>
                  <a:lnTo>
                    <a:pt x="9141806" y="0"/>
                  </a:lnTo>
                  <a:lnTo>
                    <a:pt x="9141806" y="2923082"/>
                  </a:lnTo>
                  <a:lnTo>
                    <a:pt x="0" y="2923082"/>
                  </a:lnTo>
                  <a:close/>
                </a:path>
              </a:pathLst>
            </a:custGeom>
          </p:spPr>
        </p:pic>
      </p:grpSp>
      <p:sp>
        <p:nvSpPr>
          <p:cNvPr id="9" name="Rectangle 8"/>
          <p:cNvSpPr/>
          <p:nvPr userDrawn="1"/>
        </p:nvSpPr>
        <p:spPr>
          <a:xfrm>
            <a:off x="723900" y="723900"/>
            <a:ext cx="10262216" cy="30138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itle 1"/>
          <p:cNvSpPr>
            <a:spLocks noGrp="1"/>
          </p:cNvSpPr>
          <p:nvPr>
            <p:ph type="title"/>
          </p:nvPr>
        </p:nvSpPr>
        <p:spPr>
          <a:xfrm>
            <a:off x="1343738" y="958880"/>
            <a:ext cx="8855471" cy="569193"/>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0" name="Oval 9"/>
          <p:cNvSpPr>
            <a:spLocks noChangeAspect="1"/>
          </p:cNvSpPr>
          <p:nvPr userDrawn="1"/>
        </p:nvSpPr>
        <p:spPr>
          <a:xfrm>
            <a:off x="10592663" y="958878"/>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Picture Placeholder 2"/>
          <p:cNvSpPr>
            <a:spLocks noGrp="1"/>
          </p:cNvSpPr>
          <p:nvPr>
            <p:ph type="pic" sz="quarter" idx="12" hasCustomPrompt="1"/>
          </p:nvPr>
        </p:nvSpPr>
        <p:spPr>
          <a:xfrm>
            <a:off x="10734057" y="1100271"/>
            <a:ext cx="504121" cy="504122"/>
          </a:xfrm>
        </p:spPr>
        <p:txBody>
          <a:bodyPr anchor="ctr" anchorCtr="0">
            <a:noAutofit/>
          </a:bodyPr>
          <a:lstStyle>
            <a:lvl1pPr marL="0" indent="0" algn="ctr">
              <a:buNone/>
              <a:defRPr sz="800"/>
            </a:lvl1pPr>
          </a:lstStyle>
          <a:p>
            <a:r>
              <a:rPr lang="en-US"/>
              <a:t>Icon image</a:t>
            </a:r>
          </a:p>
        </p:txBody>
      </p:sp>
      <p:sp>
        <p:nvSpPr>
          <p:cNvPr id="17" name="Text Placeholder 16"/>
          <p:cNvSpPr>
            <a:spLocks noGrp="1"/>
          </p:cNvSpPr>
          <p:nvPr>
            <p:ph type="body" sz="quarter" idx="13" hasCustomPrompt="1"/>
          </p:nvPr>
        </p:nvSpPr>
        <p:spPr>
          <a:xfrm>
            <a:off x="1343026" y="1604965"/>
            <a:ext cx="8856663" cy="1957387"/>
          </a:xfrm>
        </p:spPr>
        <p:txBody>
          <a:bodyPr>
            <a:normAutofit/>
          </a:bodyPr>
          <a:lstStyle>
            <a:lvl1pPr marL="228594" indent="-228594">
              <a:buClr>
                <a:srgbClr val="DC4405"/>
              </a:buClr>
              <a:buFont typeface="Courier New" panose="02070309020205020404" pitchFamily="49" charset="0"/>
              <a:buChar char="o"/>
              <a:defRPr sz="2000">
                <a:solidFill>
                  <a:schemeClr val="bg1"/>
                </a:solidFill>
                <a:latin typeface="+mn-lt"/>
              </a:defRPr>
            </a:lvl1pPr>
            <a:lvl2pPr marL="685783" indent="-228594">
              <a:buClr>
                <a:srgbClr val="DC4405"/>
              </a:buClr>
              <a:buFont typeface="Courier New" panose="02070309020205020404" pitchFamily="49" charset="0"/>
              <a:buChar char="o"/>
              <a:defRPr sz="1800">
                <a:solidFill>
                  <a:schemeClr val="bg1"/>
                </a:solidFill>
                <a:latin typeface="+mn-lt"/>
              </a:defRPr>
            </a:lvl2pPr>
            <a:lvl3pPr marL="1142971" indent="-228594">
              <a:buClr>
                <a:srgbClr val="DC4405"/>
              </a:buClr>
              <a:buFont typeface="Courier New" panose="02070309020205020404" pitchFamily="49" charset="0"/>
              <a:buChar char="o"/>
              <a:defRPr sz="1600">
                <a:solidFill>
                  <a:schemeClr val="bg1"/>
                </a:solidFill>
                <a:latin typeface="+mn-lt"/>
              </a:defRPr>
            </a:lvl3pPr>
            <a:lvl4pPr marL="1600160" indent="-228594">
              <a:buClr>
                <a:srgbClr val="DC4405"/>
              </a:buClr>
              <a:buFont typeface="Courier New" panose="02070309020205020404" pitchFamily="49" charset="0"/>
              <a:buChar char="o"/>
              <a:defRPr sz="1400">
                <a:solidFill>
                  <a:schemeClr val="bg1"/>
                </a:solidFill>
                <a:latin typeface="+mn-lt"/>
              </a:defRPr>
            </a:lvl4pPr>
            <a:lvl5pPr marL="2057349" indent="-228594">
              <a:buClr>
                <a:srgbClr val="DC4405"/>
              </a:buClr>
              <a:buFont typeface="Courier New" panose="02070309020205020404" pitchFamily="49" charset="0"/>
              <a:buChar char="o"/>
              <a:defRPr sz="14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1"/>
          </p:nvPr>
        </p:nvSpPr>
        <p:spPr>
          <a:xfrm>
            <a:off x="-216" y="2904955"/>
            <a:ext cx="12192431" cy="3970678"/>
          </a:xfrm>
          <a:custGeom>
            <a:avLst/>
            <a:gdLst>
              <a:gd name="connsiteX0" fmla="*/ 0 w 12192000"/>
              <a:gd name="connsiteY0" fmla="*/ 983853 h 3935412"/>
              <a:gd name="connsiteX1" fmla="*/ 983853 w 12192000"/>
              <a:gd name="connsiteY1" fmla="*/ 983853 h 3935412"/>
              <a:gd name="connsiteX2" fmla="*/ 983853 w 12192000"/>
              <a:gd name="connsiteY2" fmla="*/ 0 h 3935412"/>
              <a:gd name="connsiteX3" fmla="*/ 11208147 w 12192000"/>
              <a:gd name="connsiteY3" fmla="*/ 0 h 3935412"/>
              <a:gd name="connsiteX4" fmla="*/ 11208147 w 12192000"/>
              <a:gd name="connsiteY4" fmla="*/ 983853 h 3935412"/>
              <a:gd name="connsiteX5" fmla="*/ 12192000 w 12192000"/>
              <a:gd name="connsiteY5" fmla="*/ 983853 h 3935412"/>
              <a:gd name="connsiteX6" fmla="*/ 12192000 w 12192000"/>
              <a:gd name="connsiteY6" fmla="*/ 2951559 h 3935412"/>
              <a:gd name="connsiteX7" fmla="*/ 11208147 w 12192000"/>
              <a:gd name="connsiteY7" fmla="*/ 2951559 h 3935412"/>
              <a:gd name="connsiteX8" fmla="*/ 11208147 w 12192000"/>
              <a:gd name="connsiteY8" fmla="*/ 3935412 h 3935412"/>
              <a:gd name="connsiteX9" fmla="*/ 983853 w 12192000"/>
              <a:gd name="connsiteY9" fmla="*/ 3935412 h 3935412"/>
              <a:gd name="connsiteX10" fmla="*/ 983853 w 12192000"/>
              <a:gd name="connsiteY10" fmla="*/ 2951559 h 3935412"/>
              <a:gd name="connsiteX11" fmla="*/ 0 w 12192000"/>
              <a:gd name="connsiteY11" fmla="*/ 2951559 h 3935412"/>
              <a:gd name="connsiteX12" fmla="*/ 0 w 12192000"/>
              <a:gd name="connsiteY12" fmla="*/ 983853 h 3935412"/>
              <a:gd name="connsiteX0" fmla="*/ 10633 w 12192000"/>
              <a:gd name="connsiteY0" fmla="*/ 0 h 3940387"/>
              <a:gd name="connsiteX1" fmla="*/ 983853 w 12192000"/>
              <a:gd name="connsiteY1" fmla="*/ 988828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0632 h 3951019"/>
              <a:gd name="connsiteX1" fmla="*/ 728672 w 12192000"/>
              <a:gd name="connsiteY1" fmla="*/ 0 h 3951019"/>
              <a:gd name="connsiteX2" fmla="*/ 718039 w 12192000"/>
              <a:gd name="connsiteY2" fmla="*/ 834314 h 3951019"/>
              <a:gd name="connsiteX3" fmla="*/ 11208147 w 12192000"/>
              <a:gd name="connsiteY3" fmla="*/ 15607 h 3951019"/>
              <a:gd name="connsiteX4" fmla="*/ 11208147 w 12192000"/>
              <a:gd name="connsiteY4" fmla="*/ 999460 h 3951019"/>
              <a:gd name="connsiteX5" fmla="*/ 12192000 w 12192000"/>
              <a:gd name="connsiteY5" fmla="*/ 999460 h 3951019"/>
              <a:gd name="connsiteX6" fmla="*/ 12192000 w 12192000"/>
              <a:gd name="connsiteY6" fmla="*/ 2967166 h 3951019"/>
              <a:gd name="connsiteX7" fmla="*/ 11208147 w 12192000"/>
              <a:gd name="connsiteY7" fmla="*/ 2967166 h 3951019"/>
              <a:gd name="connsiteX8" fmla="*/ 11208147 w 12192000"/>
              <a:gd name="connsiteY8" fmla="*/ 3951019 h 3951019"/>
              <a:gd name="connsiteX9" fmla="*/ 983853 w 12192000"/>
              <a:gd name="connsiteY9" fmla="*/ 3951019 h 3951019"/>
              <a:gd name="connsiteX10" fmla="*/ 983853 w 12192000"/>
              <a:gd name="connsiteY10" fmla="*/ 2967166 h 3951019"/>
              <a:gd name="connsiteX11" fmla="*/ 0 w 12192000"/>
              <a:gd name="connsiteY11" fmla="*/ 2967166 h 3951019"/>
              <a:gd name="connsiteX12" fmla="*/ 10633 w 12192000"/>
              <a:gd name="connsiteY12" fmla="*/ 10632 h 3951019"/>
              <a:gd name="connsiteX0" fmla="*/ 10633 w 12192000"/>
              <a:gd name="connsiteY0" fmla="*/ 0 h 3940387"/>
              <a:gd name="connsiteX1" fmla="*/ 718039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0622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0999141 w 12192000"/>
              <a:gd name="connsiteY3" fmla="*/ 806163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2658 h 3953045"/>
              <a:gd name="connsiteX1" fmla="*/ 718039 w 12192000"/>
              <a:gd name="connsiteY1" fmla="*/ 14583 h 3953045"/>
              <a:gd name="connsiteX2" fmla="*/ 718039 w 12192000"/>
              <a:gd name="connsiteY2" fmla="*/ 836340 h 3953045"/>
              <a:gd name="connsiteX3" fmla="*/ 10999141 w 12192000"/>
              <a:gd name="connsiteY3" fmla="*/ 818821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7418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216"/>
              <a:gd name="connsiteY0" fmla="*/ 12658 h 3961969"/>
              <a:gd name="connsiteX1" fmla="*/ 718039 w 12192216"/>
              <a:gd name="connsiteY1" fmla="*/ 14583 h 3961969"/>
              <a:gd name="connsiteX2" fmla="*/ 718039 w 12192216"/>
              <a:gd name="connsiteY2" fmla="*/ 836340 h 3961969"/>
              <a:gd name="connsiteX3" fmla="*/ 10990432 w 12192216"/>
              <a:gd name="connsiteY3" fmla="*/ 827529 h 3961969"/>
              <a:gd name="connsiteX4" fmla="*/ 10999141 w 12192216"/>
              <a:gd name="connsiteY4" fmla="*/ 0 h 3961969"/>
              <a:gd name="connsiteX5" fmla="*/ 12192000 w 12192216"/>
              <a:gd name="connsiteY5" fmla="*/ 17418 h 3961969"/>
              <a:gd name="connsiteX6" fmla="*/ 12192000 w 12192216"/>
              <a:gd name="connsiteY6" fmla="*/ 2969192 h 3961969"/>
              <a:gd name="connsiteX7" fmla="*/ 12192216 w 12192216"/>
              <a:gd name="connsiteY7" fmla="*/ 3961969 h 3961969"/>
              <a:gd name="connsiteX8" fmla="*/ 11208147 w 12192216"/>
              <a:gd name="connsiteY8" fmla="*/ 3953045 h 3961969"/>
              <a:gd name="connsiteX9" fmla="*/ 983853 w 12192216"/>
              <a:gd name="connsiteY9" fmla="*/ 3953045 h 3961969"/>
              <a:gd name="connsiteX10" fmla="*/ 983853 w 12192216"/>
              <a:gd name="connsiteY10" fmla="*/ 2969192 h 3961969"/>
              <a:gd name="connsiteX11" fmla="*/ 0 w 12192216"/>
              <a:gd name="connsiteY11" fmla="*/ 2969192 h 3961969"/>
              <a:gd name="connsiteX12" fmla="*/ 10633 w 12192216"/>
              <a:gd name="connsiteY12" fmla="*/ 12658 h 3961969"/>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81939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431" h="3970678">
                <a:moveTo>
                  <a:pt x="10848" y="12658"/>
                </a:moveTo>
                <a:lnTo>
                  <a:pt x="718254" y="14583"/>
                </a:lnTo>
                <a:lnTo>
                  <a:pt x="718254" y="836340"/>
                </a:lnTo>
                <a:lnTo>
                  <a:pt x="10990647" y="827529"/>
                </a:lnTo>
                <a:cubicBezTo>
                  <a:pt x="10987744" y="551686"/>
                  <a:pt x="10984842" y="275843"/>
                  <a:pt x="10981939" y="0"/>
                </a:cubicBezTo>
                <a:lnTo>
                  <a:pt x="12192215" y="17418"/>
                </a:lnTo>
                <a:lnTo>
                  <a:pt x="12192215" y="2969192"/>
                </a:lnTo>
                <a:lnTo>
                  <a:pt x="12192431" y="3961969"/>
                </a:lnTo>
                <a:lnTo>
                  <a:pt x="11208362" y="3953045"/>
                </a:lnTo>
                <a:lnTo>
                  <a:pt x="984068" y="3953045"/>
                </a:lnTo>
                <a:lnTo>
                  <a:pt x="0" y="3970678"/>
                </a:lnTo>
                <a:cubicBezTo>
                  <a:pt x="72" y="3636849"/>
                  <a:pt x="143" y="3303021"/>
                  <a:pt x="215" y="2969192"/>
                </a:cubicBezTo>
                <a:cubicBezTo>
                  <a:pt x="3759" y="1983681"/>
                  <a:pt x="7304" y="998169"/>
                  <a:pt x="10848" y="12658"/>
                </a:cubicBezTo>
                <a:close/>
              </a:path>
            </a:pathLst>
          </a:custGeom>
        </p:spPr>
        <p:txBody>
          <a:bodyPr/>
          <a:lstStyle/>
          <a:p>
            <a:endParaRPr lang="en-US"/>
          </a:p>
        </p:txBody>
      </p:sp>
    </p:spTree>
    <p:extLst>
      <p:ext uri="{BB962C8B-B14F-4D97-AF65-F5344CB8AC3E}">
        <p14:creationId xmlns:p14="http://schemas.microsoft.com/office/powerpoint/2010/main" val="7484102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1656238"/>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955"/>
          <a:stretch/>
        </p:blipFill>
        <p:spPr>
          <a:xfrm>
            <a:off x="9135292" y="1671262"/>
            <a:ext cx="3049621"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18309" y="3189027"/>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17946" y="3663823"/>
            <a:ext cx="3226565" cy="2898775"/>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4482355"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Picture Placeholder 2"/>
          <p:cNvSpPr>
            <a:spLocks noGrp="1"/>
          </p:cNvSpPr>
          <p:nvPr>
            <p:ph type="pic" sz="quarter" idx="19" hasCustomPrompt="1"/>
          </p:nvPr>
        </p:nvSpPr>
        <p:spPr>
          <a:xfrm>
            <a:off x="4623749" y="2084905"/>
            <a:ext cx="504121" cy="504122"/>
          </a:xfrm>
        </p:spPr>
        <p:txBody>
          <a:bodyPr anchor="ctr" anchorCtr="0">
            <a:noAutofit/>
          </a:bodyPr>
          <a:lstStyle>
            <a:lvl1pPr marL="0" indent="0" algn="ctr">
              <a:buNone/>
              <a:defRPr sz="800"/>
            </a:lvl1pPr>
          </a:lstStyle>
          <a:p>
            <a:r>
              <a:rPr lang="en-US"/>
              <a:t>Icon image</a:t>
            </a:r>
          </a:p>
        </p:txBody>
      </p:sp>
      <p:sp>
        <p:nvSpPr>
          <p:cNvPr id="19" name="Text Placeholder 15"/>
          <p:cNvSpPr>
            <a:spLocks noGrp="1"/>
          </p:cNvSpPr>
          <p:nvPr>
            <p:ph type="body" sz="quarter" idx="15" hasCustomPrompt="1"/>
          </p:nvPr>
        </p:nvSpPr>
        <p:spPr>
          <a:xfrm>
            <a:off x="4483841" y="3180590"/>
            <a:ext cx="3191743"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2355" y="3663083"/>
            <a:ext cx="3226565" cy="2898775"/>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Oval 13"/>
          <p:cNvSpPr>
            <a:spLocks noChangeAspect="1"/>
          </p:cNvSpPr>
          <p:nvPr userDrawn="1"/>
        </p:nvSpPr>
        <p:spPr>
          <a:xfrm>
            <a:off x="8339863"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Picture Placeholder 2"/>
          <p:cNvSpPr>
            <a:spLocks noGrp="1"/>
          </p:cNvSpPr>
          <p:nvPr>
            <p:ph type="pic" sz="quarter" idx="20" hasCustomPrompt="1"/>
          </p:nvPr>
        </p:nvSpPr>
        <p:spPr>
          <a:xfrm>
            <a:off x="8481257" y="2084905"/>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8355641" y="3189397"/>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5279" y="3664193"/>
            <a:ext cx="3226565" cy="2898775"/>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991199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1656238"/>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27" name="Picture 26"/>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955"/>
          <a:stretch/>
        </p:blipFill>
        <p:spPr>
          <a:xfrm>
            <a:off x="9135292" y="1671262"/>
            <a:ext cx="3049621"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18309" y="3189027"/>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17946" y="3663823"/>
            <a:ext cx="3226565" cy="2898775"/>
          </a:xfrm>
        </p:spPr>
        <p:txBody>
          <a:bodyPr>
            <a:noAutofit/>
          </a:bodyPr>
          <a:lstStyle>
            <a:lvl1pPr marL="285744" indent="-28574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4482355"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Picture Placeholder 2"/>
          <p:cNvSpPr>
            <a:spLocks noGrp="1"/>
          </p:cNvSpPr>
          <p:nvPr>
            <p:ph type="pic" sz="quarter" idx="19" hasCustomPrompt="1"/>
          </p:nvPr>
        </p:nvSpPr>
        <p:spPr>
          <a:xfrm>
            <a:off x="4623749" y="2084905"/>
            <a:ext cx="504121" cy="504122"/>
          </a:xfrm>
        </p:spPr>
        <p:txBody>
          <a:bodyPr anchor="ctr" anchorCtr="0">
            <a:noAutofit/>
          </a:bodyPr>
          <a:lstStyle>
            <a:lvl1pPr marL="0" indent="0" algn="ctr">
              <a:buNone/>
              <a:defRPr sz="800"/>
            </a:lvl1pPr>
          </a:lstStyle>
          <a:p>
            <a:r>
              <a:rPr lang="en-US"/>
              <a:t>Icon image</a:t>
            </a:r>
          </a:p>
        </p:txBody>
      </p:sp>
      <p:sp>
        <p:nvSpPr>
          <p:cNvPr id="19" name="Text Placeholder 15"/>
          <p:cNvSpPr>
            <a:spLocks noGrp="1"/>
          </p:cNvSpPr>
          <p:nvPr>
            <p:ph type="body" sz="quarter" idx="15" hasCustomPrompt="1"/>
          </p:nvPr>
        </p:nvSpPr>
        <p:spPr>
          <a:xfrm>
            <a:off x="4483841" y="3180590"/>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2355" y="3663083"/>
            <a:ext cx="3226565" cy="2898775"/>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Oval 13"/>
          <p:cNvSpPr>
            <a:spLocks noChangeAspect="1"/>
          </p:cNvSpPr>
          <p:nvPr userDrawn="1"/>
        </p:nvSpPr>
        <p:spPr>
          <a:xfrm>
            <a:off x="8339863"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Picture Placeholder 2"/>
          <p:cNvSpPr>
            <a:spLocks noGrp="1"/>
          </p:cNvSpPr>
          <p:nvPr>
            <p:ph type="pic" sz="quarter" idx="20" hasCustomPrompt="1"/>
          </p:nvPr>
        </p:nvSpPr>
        <p:spPr>
          <a:xfrm>
            <a:off x="8481257" y="2084905"/>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8355641" y="3189397"/>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5279" y="3664193"/>
            <a:ext cx="3226565" cy="2898775"/>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52379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35292"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6" name="Text Placeholder 15"/>
          <p:cNvSpPr>
            <a:spLocks noGrp="1"/>
          </p:cNvSpPr>
          <p:nvPr>
            <p:ph type="body" sz="quarter" idx="13" hasCustomPrompt="1"/>
          </p:nvPr>
        </p:nvSpPr>
        <p:spPr>
          <a:xfrm>
            <a:off x="620597" y="201634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20234" y="2491137"/>
            <a:ext cx="3226565" cy="3356400"/>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15"/>
          <p:cNvSpPr>
            <a:spLocks noGrp="1"/>
          </p:cNvSpPr>
          <p:nvPr>
            <p:ph type="body" sz="quarter" idx="15" hasCustomPrompt="1"/>
          </p:nvPr>
        </p:nvSpPr>
        <p:spPr>
          <a:xfrm>
            <a:off x="4486129" y="2007906"/>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4643" y="2490397"/>
            <a:ext cx="3226565" cy="33564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5"/>
          <p:cNvSpPr>
            <a:spLocks noGrp="1"/>
          </p:cNvSpPr>
          <p:nvPr>
            <p:ph type="body" sz="quarter" idx="17" hasCustomPrompt="1"/>
          </p:nvPr>
        </p:nvSpPr>
        <p:spPr>
          <a:xfrm>
            <a:off x="8357929" y="201671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7567" y="2491507"/>
            <a:ext cx="3226565" cy="33564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752622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6" name="Text Placeholder 15"/>
          <p:cNvSpPr>
            <a:spLocks noGrp="1"/>
          </p:cNvSpPr>
          <p:nvPr>
            <p:ph type="body" sz="quarter" idx="13" hasCustomPrompt="1"/>
          </p:nvPr>
        </p:nvSpPr>
        <p:spPr>
          <a:xfrm>
            <a:off x="620597" y="201634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20234" y="2491137"/>
            <a:ext cx="3226565" cy="3356400"/>
          </a:xfrm>
        </p:spPr>
        <p:txBody>
          <a:bodyPr>
            <a:noAutofit/>
          </a:bodyPr>
          <a:lstStyle>
            <a:lvl1pPr marL="285744" indent="-28574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15"/>
          <p:cNvSpPr>
            <a:spLocks noGrp="1"/>
          </p:cNvSpPr>
          <p:nvPr>
            <p:ph type="body" sz="quarter" idx="15" hasCustomPrompt="1"/>
          </p:nvPr>
        </p:nvSpPr>
        <p:spPr>
          <a:xfrm>
            <a:off x="4486129" y="2007906"/>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Header</a:t>
            </a:r>
          </a:p>
        </p:txBody>
      </p:sp>
      <p:sp>
        <p:nvSpPr>
          <p:cNvPr id="20" name="Text Placeholder 17"/>
          <p:cNvSpPr>
            <a:spLocks noGrp="1"/>
          </p:cNvSpPr>
          <p:nvPr>
            <p:ph type="body" sz="quarter" idx="16" hasCustomPrompt="1"/>
          </p:nvPr>
        </p:nvSpPr>
        <p:spPr>
          <a:xfrm>
            <a:off x="4484643" y="2490397"/>
            <a:ext cx="3226565" cy="3356400"/>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5"/>
          <p:cNvSpPr>
            <a:spLocks noGrp="1"/>
          </p:cNvSpPr>
          <p:nvPr>
            <p:ph type="body" sz="quarter" idx="17" hasCustomPrompt="1"/>
          </p:nvPr>
        </p:nvSpPr>
        <p:spPr>
          <a:xfrm>
            <a:off x="8357929" y="2016713"/>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7567" y="2491507"/>
            <a:ext cx="3226565" cy="3356400"/>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45924"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Tree>
    <p:extLst>
      <p:ext uri="{BB962C8B-B14F-4D97-AF65-F5344CB8AC3E}">
        <p14:creationId xmlns:p14="http://schemas.microsoft.com/office/powerpoint/2010/main" val="693627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23" name="Picture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35292"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33636" y="2962642"/>
            <a:ext cx="5078455"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33273" y="3437436"/>
            <a:ext cx="5078864" cy="2484900"/>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6507867"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9" hasCustomPrompt="1"/>
          </p:nvPr>
        </p:nvSpPr>
        <p:spPr>
          <a:xfrm>
            <a:off x="6649261" y="2090348"/>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6508231" y="2962642"/>
            <a:ext cx="506546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6507867" y="3437436"/>
            <a:ext cx="5078864" cy="24849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197700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9" name="Picture 18"/>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45924"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solidFill>
                  <a:schemeClr val="tx1"/>
                </a:solidFill>
              </a:defRPr>
            </a:lvl1pPr>
          </a:lstStyle>
          <a:p>
            <a:r>
              <a:rPr lang="en-US"/>
              <a:t>Icon image</a:t>
            </a:r>
          </a:p>
        </p:txBody>
      </p:sp>
      <p:sp>
        <p:nvSpPr>
          <p:cNvPr id="16" name="Text Placeholder 15"/>
          <p:cNvSpPr>
            <a:spLocks noGrp="1"/>
          </p:cNvSpPr>
          <p:nvPr>
            <p:ph type="body" sz="quarter" idx="13" hasCustomPrompt="1"/>
          </p:nvPr>
        </p:nvSpPr>
        <p:spPr>
          <a:xfrm>
            <a:off x="633636" y="2962642"/>
            <a:ext cx="5078455"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33273" y="3437436"/>
            <a:ext cx="5078864" cy="2484900"/>
          </a:xfrm>
        </p:spPr>
        <p:txBody>
          <a:bodyPr>
            <a:noAutofit/>
          </a:bodyPr>
          <a:lstStyle>
            <a:lvl1pPr marL="285744" indent="-28574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6507867"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9" hasCustomPrompt="1"/>
          </p:nvPr>
        </p:nvSpPr>
        <p:spPr>
          <a:xfrm>
            <a:off x="6649261" y="2090348"/>
            <a:ext cx="504121" cy="504122"/>
          </a:xfrm>
        </p:spPr>
        <p:txBody>
          <a:bodyPr anchor="ctr" anchorCtr="0">
            <a:noAutofit/>
          </a:bodyPr>
          <a:lstStyle>
            <a:lvl1pPr marL="0" indent="0" algn="ctr">
              <a:buNone/>
              <a:defRPr sz="800">
                <a:solidFill>
                  <a:schemeClr val="tx1"/>
                </a:solidFill>
              </a:defRPr>
            </a:lvl1pPr>
          </a:lstStyle>
          <a:p>
            <a:r>
              <a:rPr lang="en-US"/>
              <a:t>Icon image</a:t>
            </a:r>
          </a:p>
        </p:txBody>
      </p:sp>
      <p:sp>
        <p:nvSpPr>
          <p:cNvPr id="21" name="Text Placeholder 15"/>
          <p:cNvSpPr>
            <a:spLocks noGrp="1"/>
          </p:cNvSpPr>
          <p:nvPr>
            <p:ph type="body" sz="quarter" idx="17" hasCustomPrompt="1"/>
          </p:nvPr>
        </p:nvSpPr>
        <p:spPr>
          <a:xfrm>
            <a:off x="6508231" y="2962642"/>
            <a:ext cx="506546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6507867" y="3437436"/>
            <a:ext cx="5078864" cy="2484900"/>
          </a:xfrm>
        </p:spPr>
        <p:txBody>
          <a:bodyPr>
            <a:noAutofit/>
          </a:bodyPr>
          <a:lstStyle>
            <a:lvl1pPr marL="228594" indent="-22859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baseline="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baseline="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baseline="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34091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319" r="58838" b="5"/>
          <a:stretch/>
        </p:blipFill>
        <p:spPr>
          <a:xfrm>
            <a:off x="9135292" y="-21265"/>
            <a:ext cx="3060253" cy="6879265"/>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5" b="-1"/>
          <a:stretch/>
        </p:blipFill>
        <p:spPr>
          <a:xfrm>
            <a:off x="1" y="-21265"/>
            <a:ext cx="9141807" cy="6864241"/>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9" name="Rectangle 8"/>
          <p:cNvSpPr/>
          <p:nvPr userDrawn="1"/>
        </p:nvSpPr>
        <p:spPr>
          <a:xfrm>
            <a:off x="2094613" y="1010768"/>
            <a:ext cx="10097387" cy="4823927"/>
          </a:xfrm>
          <a:prstGeom prst="rect">
            <a:avLst/>
          </a:prstGeom>
          <a:solidFill>
            <a:srgbClr val="DC4405"/>
          </a:solidFill>
          <a:ln>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ADF4F0F-2CBB-394C-8D28-1DF130774BB0}"/>
              </a:ext>
            </a:extLst>
          </p:cNvPr>
          <p:cNvSpPr>
            <a:spLocks noGrp="1"/>
          </p:cNvSpPr>
          <p:nvPr>
            <p:ph type="title"/>
          </p:nvPr>
        </p:nvSpPr>
        <p:spPr>
          <a:xfrm>
            <a:off x="4326416" y="2813879"/>
            <a:ext cx="7326313" cy="1263176"/>
          </a:xfrm>
        </p:spPr>
        <p:txBody>
          <a:bodyPr/>
          <a:lstStyle>
            <a:lvl1pPr>
              <a:defRPr sz="2800" b="1" i="0" cap="all" baseline="0">
                <a:solidFill>
                  <a:schemeClr val="bg1"/>
                </a:solidFill>
              </a:defRPr>
            </a:lvl1pPr>
          </a:lstStyle>
          <a:p>
            <a:r>
              <a:rPr lang="en-US"/>
              <a:t>Click to edit Master title style</a:t>
            </a:r>
          </a:p>
        </p:txBody>
      </p:sp>
      <p:sp>
        <p:nvSpPr>
          <p:cNvPr id="10" name="Oval 9"/>
          <p:cNvSpPr/>
          <p:nvPr userDrawn="1"/>
        </p:nvSpPr>
        <p:spPr>
          <a:xfrm>
            <a:off x="344781" y="1813113"/>
            <a:ext cx="3265715" cy="3265715"/>
          </a:xfrm>
          <a:prstGeom prst="ellipse">
            <a:avLst/>
          </a:prstGeom>
          <a:solidFill>
            <a:srgbClr val="DC4405"/>
          </a:solidFill>
          <a:ln w="85725" cmpd="sng">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p:cNvSpPr>
            <a:spLocks noGrp="1"/>
          </p:cNvSpPr>
          <p:nvPr>
            <p:ph type="pic" sz="quarter" idx="12" hasCustomPrompt="1"/>
          </p:nvPr>
        </p:nvSpPr>
        <p:spPr>
          <a:xfrm>
            <a:off x="861237" y="2329567"/>
            <a:ext cx="2231800" cy="2231800"/>
          </a:xfrm>
        </p:spPr>
        <p:txBody>
          <a:bodyPr anchor="ctr" anchorCtr="0">
            <a:noAutofit/>
          </a:bodyPr>
          <a:lstStyle>
            <a:lvl1pPr marL="0" indent="0" algn="ctr">
              <a:buNone/>
              <a:defRPr sz="1800"/>
            </a:lvl1pPr>
          </a:lstStyle>
          <a:p>
            <a:r>
              <a:rPr lang="en-US"/>
              <a:t>Icon image</a:t>
            </a:r>
          </a:p>
        </p:txBody>
      </p:sp>
    </p:spTree>
    <p:extLst>
      <p:ext uri="{BB962C8B-B14F-4D97-AF65-F5344CB8AC3E}">
        <p14:creationId xmlns:p14="http://schemas.microsoft.com/office/powerpoint/2010/main" val="14873081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319" r="58722" b="5"/>
          <a:stretch/>
        </p:blipFill>
        <p:spPr>
          <a:xfrm>
            <a:off x="9145922" y="-21265"/>
            <a:ext cx="3070889" cy="6879265"/>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5" b="-1"/>
          <a:stretch/>
        </p:blipFill>
        <p:spPr>
          <a:xfrm>
            <a:off x="-4" y="-21265"/>
            <a:ext cx="9141807" cy="6864241"/>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9" name="Rectangle 8"/>
          <p:cNvSpPr/>
          <p:nvPr userDrawn="1"/>
        </p:nvSpPr>
        <p:spPr>
          <a:xfrm>
            <a:off x="2094613" y="998893"/>
            <a:ext cx="10097387" cy="4823927"/>
          </a:xfrm>
          <a:prstGeom prst="rect">
            <a:avLst/>
          </a:prstGeom>
          <a:solidFill>
            <a:srgbClr val="DC4405"/>
          </a:solidFill>
          <a:ln>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7D3C989-1309-994B-B24D-52010CD78D09}"/>
              </a:ext>
            </a:extLst>
          </p:cNvPr>
          <p:cNvSpPr>
            <a:spLocks noGrp="1"/>
          </p:cNvSpPr>
          <p:nvPr>
            <p:ph type="title"/>
          </p:nvPr>
        </p:nvSpPr>
        <p:spPr>
          <a:xfrm>
            <a:off x="4245548" y="2893321"/>
            <a:ext cx="7326315" cy="1104292"/>
          </a:xfrm>
        </p:spPr>
        <p:txBody>
          <a:bodyPr>
            <a:normAutofit/>
          </a:bodyPr>
          <a:lstStyle>
            <a:lvl1pPr>
              <a:defRPr sz="2800" b="1" i="0" cap="all" baseline="0">
                <a:solidFill>
                  <a:schemeClr val="bg1"/>
                </a:solidFill>
              </a:defRPr>
            </a:lvl1pPr>
          </a:lstStyle>
          <a:p>
            <a:r>
              <a:rPr lang="en-US"/>
              <a:t>Click to edit Master title style</a:t>
            </a:r>
          </a:p>
        </p:txBody>
      </p:sp>
      <p:sp>
        <p:nvSpPr>
          <p:cNvPr id="10" name="Oval 9"/>
          <p:cNvSpPr/>
          <p:nvPr userDrawn="1"/>
        </p:nvSpPr>
        <p:spPr>
          <a:xfrm>
            <a:off x="344781" y="1813113"/>
            <a:ext cx="3265715" cy="3265715"/>
          </a:xfrm>
          <a:prstGeom prst="ellipse">
            <a:avLst/>
          </a:prstGeom>
          <a:solidFill>
            <a:srgbClr val="DC4405"/>
          </a:solidFill>
          <a:ln w="85725" cmpd="sng">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Picture Placeholder 2"/>
          <p:cNvSpPr>
            <a:spLocks noGrp="1"/>
          </p:cNvSpPr>
          <p:nvPr>
            <p:ph type="pic" sz="quarter" idx="12" hasCustomPrompt="1"/>
          </p:nvPr>
        </p:nvSpPr>
        <p:spPr>
          <a:xfrm>
            <a:off x="861237" y="2329567"/>
            <a:ext cx="2231800" cy="2231800"/>
          </a:xfrm>
        </p:spPr>
        <p:txBody>
          <a:bodyPr anchor="ctr" anchorCtr="0">
            <a:noAutofit/>
          </a:bodyPr>
          <a:lstStyle>
            <a:lvl1pPr marL="0" indent="0" algn="ctr">
              <a:buNone/>
              <a:defRPr sz="1800"/>
            </a:lvl1pPr>
          </a:lstStyle>
          <a:p>
            <a:r>
              <a:rPr lang="en-US"/>
              <a:t>Icon image</a:t>
            </a:r>
          </a:p>
        </p:txBody>
      </p:sp>
    </p:spTree>
    <p:extLst>
      <p:ext uri="{BB962C8B-B14F-4D97-AF65-F5344CB8AC3E}">
        <p14:creationId xmlns:p14="http://schemas.microsoft.com/office/powerpoint/2010/main" val="41736475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6000">
              <a:solidFill>
                <a:schemeClr val="tx1"/>
              </a:solidFill>
            </a:endParaRPr>
          </a:p>
        </p:txBody>
      </p:sp>
      <p:sp>
        <p:nvSpPr>
          <p:cNvPr id="11" name="Rectangle 10"/>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2" name="Title 1">
            <a:extLst>
              <a:ext uri="{FF2B5EF4-FFF2-40B4-BE49-F238E27FC236}">
                <a16:creationId xmlns:a16="http://schemas.microsoft.com/office/drawing/2014/main" id="{76401478-0708-F548-B1EB-39A1F96851D4}"/>
              </a:ext>
            </a:extLst>
          </p:cNvPr>
          <p:cNvSpPr>
            <a:spLocks noGrp="1"/>
          </p:cNvSpPr>
          <p:nvPr>
            <p:ph type="title"/>
          </p:nvPr>
        </p:nvSpPr>
        <p:spPr>
          <a:xfrm>
            <a:off x="1530349" y="1875092"/>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683523"/>
            <a:ext cx="9112251" cy="1644003"/>
          </a:xfrm>
        </p:spPr>
        <p:txBody>
          <a:bodyPr anchor="ctr" anchorCtr="1">
            <a:normAutofit/>
          </a:bodyPr>
          <a:lstStyle>
            <a:lvl1pPr marL="285744" indent="-285744">
              <a:buClr>
                <a:srgbClr val="DC4405"/>
              </a:buClr>
              <a:buFont typeface="Courier New" panose="02070309020205020404" pitchFamily="49" charset="0"/>
              <a:buChar char="o"/>
              <a:defRPr sz="2000" baseline="0"/>
            </a:lvl1pPr>
            <a:lvl2pPr marL="742932" indent="-285744">
              <a:buClr>
                <a:srgbClr val="DC4405"/>
              </a:buClr>
              <a:buFont typeface="Courier New" panose="02070309020205020404" pitchFamily="49" charset="0"/>
              <a:buChar char="o"/>
              <a:defRPr sz="1800" baseline="0">
                <a:latin typeface="+mn-lt"/>
              </a:defRPr>
            </a:lvl2pPr>
            <a:lvl3pPr marL="1200121" indent="-285744">
              <a:buClr>
                <a:srgbClr val="DC4405"/>
              </a:buClr>
              <a:buFont typeface="Courier New" panose="02070309020205020404" pitchFamily="49" charset="0"/>
              <a:buChar char="o"/>
              <a:defRPr sz="1600" baseline="0"/>
            </a:lvl3pPr>
            <a:lvl4pPr marL="1543012" indent="-171446">
              <a:buClr>
                <a:srgbClr val="DC4405"/>
              </a:buClr>
              <a:buFont typeface="Courier New" panose="02070309020205020404" pitchFamily="49" charset="0"/>
              <a:buChar char="o"/>
              <a:defRPr sz="1400" baseline="0"/>
            </a:lvl4pPr>
            <a:lvl5pPr marL="2000201" indent="-171446">
              <a:buClr>
                <a:srgbClr val="DC4405"/>
              </a:buClr>
              <a:buFont typeface="Courier New" panose="02070309020205020404" pitchFamily="49" charset="0"/>
              <a:buChar char="o"/>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07762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r="92081"/>
          <a:stretch>
            <a:fillRect/>
          </a:stretch>
        </p:blipFill>
        <p:spPr>
          <a:xfrm>
            <a:off x="2" y="0"/>
            <a:ext cx="723901" cy="6858000"/>
          </a:xfrm>
          <a:custGeom>
            <a:avLst/>
            <a:gdLst>
              <a:gd name="connsiteX0" fmla="*/ 0 w 723901"/>
              <a:gd name="connsiteY0" fmla="*/ 0 h 6858000"/>
              <a:gd name="connsiteX1" fmla="*/ 723901 w 723901"/>
              <a:gd name="connsiteY1" fmla="*/ 0 h 6858000"/>
              <a:gd name="connsiteX2" fmla="*/ 723901 w 723901"/>
              <a:gd name="connsiteY2" fmla="*/ 6858000 h 6858000"/>
              <a:gd name="connsiteX3" fmla="*/ 0 w 7239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3901" h="6858000">
                <a:moveTo>
                  <a:pt x="0" y="0"/>
                </a:moveTo>
                <a:lnTo>
                  <a:pt x="723901" y="0"/>
                </a:lnTo>
                <a:lnTo>
                  <a:pt x="723901" y="6858000"/>
                </a:lnTo>
                <a:lnTo>
                  <a:pt x="0" y="6858000"/>
                </a:lnTo>
                <a:close/>
              </a:path>
            </a:pathLst>
          </a:custGeom>
        </p:spPr>
      </p:pic>
      <p:sp>
        <p:nvSpPr>
          <p:cNvPr id="8" name="Oval 7"/>
          <p:cNvSpPr>
            <a:spLocks noChangeAspect="1"/>
          </p:cNvSpPr>
          <p:nvPr userDrawn="1"/>
        </p:nvSpPr>
        <p:spPr>
          <a:xfrm>
            <a:off x="479893" y="512636"/>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2" name="Title 1"/>
          <p:cNvSpPr>
            <a:spLocks noGrp="1"/>
          </p:cNvSpPr>
          <p:nvPr>
            <p:ph type="title"/>
          </p:nvPr>
        </p:nvSpPr>
        <p:spPr>
          <a:xfrm>
            <a:off x="1474237" y="658628"/>
            <a:ext cx="9879563" cy="494927"/>
          </a:xfrm>
        </p:spPr>
        <p:txBody>
          <a:bodyPr>
            <a:normAutofit/>
          </a:bodyPr>
          <a:lstStyle>
            <a:lvl1pPr>
              <a:defRPr sz="2800" b="1">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Picture Placeholder 2"/>
          <p:cNvSpPr>
            <a:spLocks noGrp="1"/>
          </p:cNvSpPr>
          <p:nvPr>
            <p:ph type="pic" sz="quarter" idx="10" hasCustomPrompt="1"/>
          </p:nvPr>
        </p:nvSpPr>
        <p:spPr>
          <a:xfrm>
            <a:off x="616689" y="658626"/>
            <a:ext cx="504121" cy="504122"/>
          </a:xfrm>
        </p:spPr>
        <p:txBody>
          <a:bodyPr anchor="ctr" anchorCtr="0">
            <a:noAutofit/>
          </a:bodyPr>
          <a:lstStyle>
            <a:lvl1pPr marL="0" indent="0" algn="ctr">
              <a:buNone/>
              <a:defRPr sz="800"/>
            </a:lvl1pPr>
          </a:lstStyle>
          <a:p>
            <a:r>
              <a:rPr lang="en-US"/>
              <a:t>Icon image</a:t>
            </a:r>
          </a:p>
        </p:txBody>
      </p:sp>
      <p:sp>
        <p:nvSpPr>
          <p:cNvPr id="3" name="Content Placeholder 2"/>
          <p:cNvSpPr>
            <a:spLocks noGrp="1"/>
          </p:cNvSpPr>
          <p:nvPr>
            <p:ph idx="1" hasCustomPrompt="1"/>
          </p:nvPr>
        </p:nvSpPr>
        <p:spPr>
          <a:xfrm>
            <a:off x="1474237" y="1380931"/>
            <a:ext cx="9879564" cy="5187820"/>
          </a:xfrm>
        </p:spPr>
        <p:txBody>
          <a:bodyPr>
            <a:normAutofit/>
          </a:bodyPr>
          <a:lstStyle>
            <a:lvl1pPr marL="228594" indent="-228594">
              <a:buClr>
                <a:srgbClr val="DC4405"/>
              </a:buClr>
              <a:buFont typeface="Courier New" panose="02070309020205020404" pitchFamily="49" charset="0"/>
              <a:buChar char="o"/>
              <a:defRPr sz="2000" baseline="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baseline="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baseline="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baseline="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1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371467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2" name="Title 1">
            <a:extLst>
              <a:ext uri="{FF2B5EF4-FFF2-40B4-BE49-F238E27FC236}">
                <a16:creationId xmlns:a16="http://schemas.microsoft.com/office/drawing/2014/main" id="{871F63B3-6FE0-3D4F-9AB1-C16F92155865}"/>
              </a:ext>
            </a:extLst>
          </p:cNvPr>
          <p:cNvSpPr>
            <a:spLocks noGrp="1"/>
          </p:cNvSpPr>
          <p:nvPr>
            <p:ph type="title"/>
          </p:nvPr>
        </p:nvSpPr>
        <p:spPr>
          <a:xfrm>
            <a:off x="1530349" y="1875092"/>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683523"/>
            <a:ext cx="9112251" cy="1644003"/>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defRPr>
            </a:lvl3pPr>
            <a:lvl4pPr marL="1543012" indent="-171446">
              <a:buClr>
                <a:srgbClr val="DC4405"/>
              </a:buClr>
              <a:buFont typeface="Courier New" panose="02070309020205020404" pitchFamily="49" charset="0"/>
              <a:buChar char="o"/>
              <a:defRPr sz="1400" baseline="0">
                <a:solidFill>
                  <a:schemeClr val="bg1"/>
                </a:solidFill>
              </a:defRPr>
            </a:lvl4pPr>
            <a:lvl5pPr marL="2000201" indent="-171446">
              <a:buClr>
                <a:srgbClr val="DC4405"/>
              </a:buClr>
              <a:buFont typeface="Courier New" panose="02070309020205020404" pitchFamily="49" charset="0"/>
              <a:buChar char="o"/>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554712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BB34C4C1-9B17-BE4B-864B-32014387B804}"/>
              </a:ext>
            </a:extLst>
          </p:cNvPr>
          <p:cNvSpPr>
            <a:spLocks noGrp="1"/>
          </p:cNvSpPr>
          <p:nvPr>
            <p:ph type="title"/>
          </p:nvPr>
        </p:nvSpPr>
        <p:spPr>
          <a:xfrm>
            <a:off x="1552929" y="1912357"/>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720788"/>
            <a:ext cx="9112251" cy="1606738"/>
          </a:xfrm>
        </p:spPr>
        <p:txBody>
          <a:bodyPr anchor="ctr" anchorCtr="1">
            <a:normAutofit/>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00"/>
            </a:lvl1pPr>
            <a:lvl2pPr marL="685783"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600" baseline="0">
                <a:latin typeface="+mn-lt"/>
              </a:defRPr>
            </a:lvl2pPr>
            <a:lvl3pPr marL="1142971"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1600160"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200"/>
            </a:lvl4pPr>
            <a:lvl5pPr marL="2000201" indent="-171446">
              <a:buClr>
                <a:srgbClr val="DC4405"/>
              </a:buClr>
              <a:buFont typeface="Courier New" panose="02070309020205020404" pitchFamily="49" charset="0"/>
              <a:buChar char="o"/>
              <a:defRPr sz="1200"/>
            </a:lvl5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Edit Master text styles</a:t>
            </a:r>
          </a:p>
          <a:p>
            <a:pPr marL="685783" marR="0" lvl="1"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Second level</a:t>
            </a:r>
          </a:p>
          <a:p>
            <a:pPr marL="1142971" marR="0" lvl="2"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1600160" marR="0" lvl="3"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p:txBody>
      </p:sp>
    </p:spTree>
    <p:extLst>
      <p:ext uri="{BB962C8B-B14F-4D97-AF65-F5344CB8AC3E}">
        <p14:creationId xmlns:p14="http://schemas.microsoft.com/office/powerpoint/2010/main" val="34514445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8BF70703-6BF1-C845-A5DA-3580FFC5EA79}"/>
              </a:ext>
            </a:extLst>
          </p:cNvPr>
          <p:cNvSpPr>
            <a:spLocks noGrp="1"/>
          </p:cNvSpPr>
          <p:nvPr>
            <p:ph type="title"/>
          </p:nvPr>
        </p:nvSpPr>
        <p:spPr>
          <a:xfrm>
            <a:off x="1530349" y="1910830"/>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761861"/>
            <a:ext cx="9112251" cy="1565664"/>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defRPr>
            </a:lvl3pPr>
            <a:lvl4pPr marL="1543012" indent="-171446">
              <a:buClr>
                <a:srgbClr val="DC4405"/>
              </a:buClr>
              <a:buFont typeface="Courier New" panose="02070309020205020404" pitchFamily="49" charset="0"/>
              <a:buChar char="o"/>
              <a:defRPr sz="1400" baseline="0">
                <a:solidFill>
                  <a:schemeClr val="bg1"/>
                </a:solidFill>
              </a:defRPr>
            </a:lvl4pPr>
            <a:lvl5pPr marL="2000201" indent="-171446">
              <a:buClr>
                <a:srgbClr val="DC4405"/>
              </a:buClr>
              <a:buFont typeface="Courier New" panose="02070309020205020404" pitchFamily="49" charset="0"/>
              <a:buChar char="o"/>
              <a:defRPr sz="1200">
                <a:solidFill>
                  <a:schemeClr val="bg1"/>
                </a:solidFill>
              </a:defRPr>
            </a:lvl5pPr>
          </a:lstStyle>
          <a:p>
            <a:pPr marL="285744" marR="0" lvl="0" indent="-285744" algn="l" defTabSz="914377" rtl="0" eaLnBrk="1" fontAlgn="auto" latinLnBrk="0" hangingPunct="1">
              <a:lnSpc>
                <a:spcPct val="90000"/>
              </a:lnSpc>
              <a:spcBef>
                <a:spcPts val="1000"/>
              </a:spcBef>
              <a:spcAft>
                <a:spcPts val="0"/>
              </a:spcAft>
              <a:buClr>
                <a:srgbClr val="DC4405"/>
              </a:buClr>
              <a:buSzTx/>
              <a:buFont typeface="Courier New" panose="02070309020205020404" pitchFamily="49" charset="0"/>
              <a:buChar char="o"/>
              <a:tabLst/>
              <a:defRPr/>
            </a:pPr>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12549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1D989875-230F-E04E-A996-BB83824C1303}"/>
              </a:ext>
            </a:extLst>
          </p:cNvPr>
          <p:cNvSpPr>
            <a:spLocks noGrp="1"/>
          </p:cNvSpPr>
          <p:nvPr>
            <p:ph type="title"/>
          </p:nvPr>
        </p:nvSpPr>
        <p:spPr>
          <a:xfrm>
            <a:off x="1552929" y="1912357"/>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758054"/>
            <a:ext cx="9112251" cy="1569473"/>
          </a:xfrm>
        </p:spPr>
        <p:txBody>
          <a:bodyPr anchor="ctr" anchorCtr="1">
            <a:normAutofit/>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00"/>
            </a:lvl1pPr>
            <a:lvl2pPr marL="685783"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600" baseline="0">
                <a:latin typeface="+mn-lt"/>
              </a:defRPr>
            </a:lvl2pPr>
            <a:lvl3pPr marL="1142971"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1600160"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200"/>
            </a:lvl4pPr>
            <a:lvl5pPr marL="2000201" indent="-171446">
              <a:buClr>
                <a:srgbClr val="DC4405"/>
              </a:buClr>
              <a:buFont typeface="Courier New" panose="02070309020205020404" pitchFamily="49" charset="0"/>
              <a:buChar char="o"/>
              <a:defRPr sz="1200"/>
            </a:lvl5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Edit Master text styles</a:t>
            </a:r>
          </a:p>
          <a:p>
            <a:pPr marL="685783" marR="0" lvl="1"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Second level</a:t>
            </a:r>
          </a:p>
          <a:p>
            <a:pPr marL="1142971" marR="0" lvl="2"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1600160" marR="0" lvl="3"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p:txBody>
      </p:sp>
    </p:spTree>
    <p:extLst>
      <p:ext uri="{BB962C8B-B14F-4D97-AF65-F5344CB8AC3E}">
        <p14:creationId xmlns:p14="http://schemas.microsoft.com/office/powerpoint/2010/main" val="38068085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545FBC4E-4719-5B44-AFFB-ED854845F11B}"/>
              </a:ext>
            </a:extLst>
          </p:cNvPr>
          <p:cNvSpPr>
            <a:spLocks noGrp="1"/>
          </p:cNvSpPr>
          <p:nvPr>
            <p:ph type="title"/>
          </p:nvPr>
        </p:nvSpPr>
        <p:spPr>
          <a:xfrm>
            <a:off x="1530349" y="1892169"/>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724539"/>
            <a:ext cx="9112251" cy="1602986"/>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latin typeface="+mn-lt"/>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latin typeface="+mn-lt"/>
              </a:defRPr>
            </a:lvl3pPr>
            <a:lvl4pPr marL="1543012" indent="-171446">
              <a:buClr>
                <a:srgbClr val="DC4405"/>
              </a:buClr>
              <a:buFont typeface="Courier New" panose="02070309020205020404" pitchFamily="49" charset="0"/>
              <a:buChar char="o"/>
              <a:defRPr sz="1400" baseline="0">
                <a:solidFill>
                  <a:schemeClr val="bg1"/>
                </a:solidFill>
                <a:latin typeface="+mn-lt"/>
              </a:defRPr>
            </a:lvl4pPr>
            <a:lvl5pPr marL="2000201" indent="-171446">
              <a:buClr>
                <a:srgbClr val="DC4405"/>
              </a:buClr>
              <a:buFont typeface="Courier New" panose="02070309020205020404" pitchFamily="49" charset="0"/>
              <a:buChar char="o"/>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896824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1" y="0"/>
            <a:ext cx="3050617" cy="6858000"/>
          </a:xfrm>
          <a:prstGeom prst="rect">
            <a:avLst/>
          </a:prstGeom>
          <a:solidFill>
            <a:srgbClr val="DC4305">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6109887" y="0"/>
            <a:ext cx="3058740" cy="6858000"/>
          </a:xfrm>
          <a:prstGeom prst="rect">
            <a:avLst/>
          </a:prstGeom>
          <a:solidFill>
            <a:srgbClr val="DC430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3051091" y="0"/>
            <a:ext cx="3058740" cy="6858000"/>
          </a:xfrm>
          <a:prstGeom prst="rect">
            <a:avLst/>
          </a:prstGeom>
          <a:solidFill>
            <a:srgbClr val="DC4305">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p:cNvSpPr/>
          <p:nvPr userDrawn="1"/>
        </p:nvSpPr>
        <p:spPr>
          <a:xfrm>
            <a:off x="9168699" y="0"/>
            <a:ext cx="3058740" cy="6858000"/>
          </a:xfrm>
          <a:prstGeom prst="rect">
            <a:avLst/>
          </a:prstGeom>
          <a:solidFill>
            <a:srgbClr val="DC4305">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sp>
        <p:nvSpPr>
          <p:cNvPr id="10" name="Text Placeholder 15"/>
          <p:cNvSpPr>
            <a:spLocks noGrp="1"/>
          </p:cNvSpPr>
          <p:nvPr>
            <p:ph type="body" sz="quarter" idx="13" hasCustomPrompt="1"/>
          </p:nvPr>
        </p:nvSpPr>
        <p:spPr>
          <a:xfrm>
            <a:off x="364"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1" name="Text Placeholder 17"/>
          <p:cNvSpPr>
            <a:spLocks noGrp="1"/>
          </p:cNvSpPr>
          <p:nvPr>
            <p:ph type="body" sz="quarter" idx="14"/>
          </p:nvPr>
        </p:nvSpPr>
        <p:spPr>
          <a:xfrm>
            <a:off x="1"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15" hasCustomPrompt="1"/>
          </p:nvPr>
        </p:nvSpPr>
        <p:spPr>
          <a:xfrm>
            <a:off x="3069991"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9" name="Text Placeholder 17"/>
          <p:cNvSpPr>
            <a:spLocks noGrp="1"/>
          </p:cNvSpPr>
          <p:nvPr>
            <p:ph type="body" sz="quarter" idx="16"/>
          </p:nvPr>
        </p:nvSpPr>
        <p:spPr>
          <a:xfrm>
            <a:off x="3069629"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17" hasCustomPrompt="1"/>
          </p:nvPr>
        </p:nvSpPr>
        <p:spPr>
          <a:xfrm>
            <a:off x="6117495"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1" name="Text Placeholder 17"/>
          <p:cNvSpPr>
            <a:spLocks noGrp="1"/>
          </p:cNvSpPr>
          <p:nvPr>
            <p:ph type="body" sz="quarter" idx="18"/>
          </p:nvPr>
        </p:nvSpPr>
        <p:spPr>
          <a:xfrm>
            <a:off x="6117133"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5"/>
          <p:cNvSpPr>
            <a:spLocks noGrp="1"/>
          </p:cNvSpPr>
          <p:nvPr>
            <p:ph type="body" sz="quarter" idx="19" hasCustomPrompt="1"/>
          </p:nvPr>
        </p:nvSpPr>
        <p:spPr>
          <a:xfrm>
            <a:off x="9157683" y="2184822"/>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3" name="Text Placeholder 17"/>
          <p:cNvSpPr>
            <a:spLocks noGrp="1"/>
          </p:cNvSpPr>
          <p:nvPr>
            <p:ph type="body" sz="quarter" idx="20"/>
          </p:nvPr>
        </p:nvSpPr>
        <p:spPr>
          <a:xfrm>
            <a:off x="9157320" y="2659616"/>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6925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rgbClr val="DC4405"/>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5939575"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5496213" y="3654738"/>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5496213" y="4059937"/>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10197991"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10197991"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5662430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9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Gill Sans"/>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5939575"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5496213" y="3654738"/>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5496213" y="4059937"/>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10197991"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10197991"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11169059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rgbClr val="DC4405"/>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4089510"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3646147"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3646147"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7" name="Oval 16"/>
          <p:cNvSpPr/>
          <p:nvPr userDrawn="1"/>
        </p:nvSpPr>
        <p:spPr>
          <a:xfrm>
            <a:off x="7789641" y="3271801"/>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7346279"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7346279"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8" name="Text Placeholder 15"/>
          <p:cNvSpPr>
            <a:spLocks noGrp="1"/>
          </p:cNvSpPr>
          <p:nvPr>
            <p:ph type="body" sz="quarter" idx="19" hasCustomPrompt="1"/>
          </p:nvPr>
        </p:nvSpPr>
        <p:spPr>
          <a:xfrm>
            <a:off x="10197991"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9" name="Text Placeholder 17"/>
          <p:cNvSpPr>
            <a:spLocks noGrp="1"/>
          </p:cNvSpPr>
          <p:nvPr>
            <p:ph type="body" sz="quarter" idx="20" hasCustomPrompt="1"/>
          </p:nvPr>
        </p:nvSpPr>
        <p:spPr>
          <a:xfrm>
            <a:off x="10197991"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28787394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4089510"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3646147"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3646147"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7" name="Oval 16"/>
          <p:cNvSpPr/>
          <p:nvPr userDrawn="1"/>
        </p:nvSpPr>
        <p:spPr>
          <a:xfrm>
            <a:off x="7789641" y="3271801"/>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7346279"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7346279"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8" name="Text Placeholder 15"/>
          <p:cNvSpPr>
            <a:spLocks noGrp="1"/>
          </p:cNvSpPr>
          <p:nvPr>
            <p:ph type="body" sz="quarter" idx="19" hasCustomPrompt="1"/>
          </p:nvPr>
        </p:nvSpPr>
        <p:spPr>
          <a:xfrm>
            <a:off x="10197991"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9" name="Text Placeholder 17"/>
          <p:cNvSpPr>
            <a:spLocks noGrp="1"/>
          </p:cNvSpPr>
          <p:nvPr>
            <p:ph type="body" sz="quarter" idx="20" hasCustomPrompt="1"/>
          </p:nvPr>
        </p:nvSpPr>
        <p:spPr>
          <a:xfrm>
            <a:off x="10197991"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7026556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r="92081"/>
          <a:stretch>
            <a:fillRect/>
          </a:stretch>
        </p:blipFill>
        <p:spPr>
          <a:xfrm>
            <a:off x="2" y="0"/>
            <a:ext cx="723901" cy="6858000"/>
          </a:xfrm>
          <a:custGeom>
            <a:avLst/>
            <a:gdLst>
              <a:gd name="connsiteX0" fmla="*/ 0 w 723901"/>
              <a:gd name="connsiteY0" fmla="*/ 0 h 6858000"/>
              <a:gd name="connsiteX1" fmla="*/ 723901 w 723901"/>
              <a:gd name="connsiteY1" fmla="*/ 0 h 6858000"/>
              <a:gd name="connsiteX2" fmla="*/ 723901 w 723901"/>
              <a:gd name="connsiteY2" fmla="*/ 6858000 h 6858000"/>
              <a:gd name="connsiteX3" fmla="*/ 0 w 7239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3901" h="6858000">
                <a:moveTo>
                  <a:pt x="0" y="0"/>
                </a:moveTo>
                <a:lnTo>
                  <a:pt x="723901" y="0"/>
                </a:lnTo>
                <a:lnTo>
                  <a:pt x="723901" y="6858000"/>
                </a:lnTo>
                <a:lnTo>
                  <a:pt x="0" y="6858000"/>
                </a:lnTo>
                <a:close/>
              </a:path>
            </a:pathLst>
          </a:custGeom>
        </p:spPr>
      </p:pic>
      <p:sp>
        <p:nvSpPr>
          <p:cNvPr id="8" name="Oval 7"/>
          <p:cNvSpPr>
            <a:spLocks noChangeAspect="1"/>
          </p:cNvSpPr>
          <p:nvPr userDrawn="1"/>
        </p:nvSpPr>
        <p:spPr>
          <a:xfrm>
            <a:off x="479893" y="512636"/>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2" name="Title 1"/>
          <p:cNvSpPr>
            <a:spLocks noGrp="1"/>
          </p:cNvSpPr>
          <p:nvPr>
            <p:ph type="title"/>
          </p:nvPr>
        </p:nvSpPr>
        <p:spPr>
          <a:xfrm>
            <a:off x="1474237" y="658628"/>
            <a:ext cx="9879563" cy="49492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9" name="Picture Placeholder 2"/>
          <p:cNvSpPr>
            <a:spLocks noGrp="1"/>
          </p:cNvSpPr>
          <p:nvPr>
            <p:ph type="pic" sz="quarter" idx="10" hasCustomPrompt="1"/>
          </p:nvPr>
        </p:nvSpPr>
        <p:spPr>
          <a:xfrm>
            <a:off x="616689" y="658626"/>
            <a:ext cx="504121" cy="504122"/>
          </a:xfrm>
        </p:spPr>
        <p:txBody>
          <a:bodyPr anchor="ctr" anchorCtr="0">
            <a:noAutofit/>
          </a:bodyPr>
          <a:lstStyle>
            <a:lvl1pPr marL="0" indent="0" algn="ctr">
              <a:buNone/>
              <a:defRPr sz="800"/>
            </a:lvl1pPr>
          </a:lstStyle>
          <a:p>
            <a:r>
              <a:rPr lang="en-US"/>
              <a:t>Icon image</a:t>
            </a:r>
          </a:p>
        </p:txBody>
      </p:sp>
      <p:sp>
        <p:nvSpPr>
          <p:cNvPr id="3" name="Content Placeholder 2"/>
          <p:cNvSpPr>
            <a:spLocks noGrp="1"/>
          </p:cNvSpPr>
          <p:nvPr>
            <p:ph idx="1" hasCustomPrompt="1"/>
          </p:nvPr>
        </p:nvSpPr>
        <p:spPr>
          <a:xfrm>
            <a:off x="1474237" y="1380931"/>
            <a:ext cx="9879564" cy="5187820"/>
          </a:xfrm>
        </p:spPr>
        <p:txBody>
          <a:bodyPr>
            <a:normAutofit/>
          </a:bodyPr>
          <a:lstStyle>
            <a:lvl1pPr marL="228594" indent="-228594">
              <a:buClr>
                <a:srgbClr val="DC4405"/>
              </a:buClr>
              <a:buFont typeface="Courier New" panose="02070309020205020404" pitchFamily="49" charset="0"/>
              <a:buChar char="o"/>
              <a:defRPr sz="2000" baseline="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baseline="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baseline="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1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223976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2_Custom Layout">
    <p:bg>
      <p:bgPr>
        <a:solidFill>
          <a:srgbClr val="DC440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sp>
        <p:nvSpPr>
          <p:cNvPr id="7" name="Text Placeholder 6"/>
          <p:cNvSpPr>
            <a:spLocks noGrp="1"/>
          </p:cNvSpPr>
          <p:nvPr>
            <p:ph type="body" sz="quarter" idx="10" hasCustomPrompt="1"/>
          </p:nvPr>
        </p:nvSpPr>
        <p:spPr>
          <a:xfrm>
            <a:off x="882651" y="1914526"/>
            <a:ext cx="10452100" cy="4549775"/>
          </a:xfrm>
        </p:spPr>
        <p:txBody>
          <a:bodyPr>
            <a:normAutofit/>
          </a:bodyPr>
          <a:lstStyle>
            <a:lvl1pPr marL="514338" indent="-514338">
              <a:buFont typeface="+mj-lt"/>
              <a:buAutoNum type="arabicPeriod"/>
              <a:defRPr sz="2000" baseline="0">
                <a:solidFill>
                  <a:schemeClr val="bg1"/>
                </a:solidFill>
              </a:defRPr>
            </a:lvl1pPr>
            <a:lvl2pPr marL="914377" indent="-457189">
              <a:buFont typeface="+mj-lt"/>
              <a:buAutoNum type="arabicPeriod"/>
              <a:defRPr sz="1800" baseline="0">
                <a:solidFill>
                  <a:schemeClr val="bg1"/>
                </a:solidFill>
                <a:latin typeface="+mn-lt"/>
              </a:defRPr>
            </a:lvl2pPr>
            <a:lvl3pPr marL="1371566" indent="-457189">
              <a:buFont typeface="+mj-lt"/>
              <a:buAutoNum type="arabicPeriod"/>
              <a:defRPr sz="1600" baseline="0">
                <a:solidFill>
                  <a:schemeClr val="bg1"/>
                </a:solidFill>
              </a:defRPr>
            </a:lvl3pPr>
            <a:lvl4pPr marL="1714457" indent="-342891">
              <a:buFont typeface="+mj-lt"/>
              <a:buAutoNum type="arabicPeriod"/>
              <a:defRPr sz="1400" baseline="0">
                <a:solidFill>
                  <a:schemeClr val="bg1"/>
                </a:solidFill>
              </a:defRPr>
            </a:lvl4pPr>
            <a:lvl5pPr marL="2171646" indent="-342891">
              <a:buFont typeface="+mj-lt"/>
              <a:buAutoNum type="arabicPeriod"/>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156394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8D1D38-6905-55EB-E565-998C3CA69769}"/>
              </a:ext>
            </a:extLst>
          </p:cNvPr>
          <p:cNvPicPr>
            <a:picLocks noChangeAspect="1"/>
          </p:cNvPicPr>
          <p:nvPr userDrawn="1"/>
        </p:nvPicPr>
        <p:blipFill rotWithShape="1">
          <a:blip r:embed="rId2"/>
          <a:srcRect l="17873" r="66807"/>
          <a:stretch/>
        </p:blipFill>
        <p:spPr>
          <a:xfrm>
            <a:off x="2006630" y="4800600"/>
            <a:ext cx="1803370" cy="2061179"/>
          </a:xfrm>
          <a:prstGeom prst="rect">
            <a:avLst/>
          </a:prstGeom>
        </p:spPr>
      </p:pic>
      <p:pic>
        <p:nvPicPr>
          <p:cNvPr id="4" name="Picture 3">
            <a:extLst>
              <a:ext uri="{FF2B5EF4-FFF2-40B4-BE49-F238E27FC236}">
                <a16:creationId xmlns:a16="http://schemas.microsoft.com/office/drawing/2014/main" id="{24317FB4-125D-3CC1-C06D-EE1FD42BCD18}"/>
              </a:ext>
            </a:extLst>
          </p:cNvPr>
          <p:cNvPicPr>
            <a:picLocks noChangeAspect="1"/>
          </p:cNvPicPr>
          <p:nvPr userDrawn="1"/>
        </p:nvPicPr>
        <p:blipFill rotWithShape="1">
          <a:blip r:embed="rId3"/>
          <a:srcRect l="21528"/>
          <a:stretch/>
        </p:blipFill>
        <p:spPr>
          <a:xfrm>
            <a:off x="3581400" y="687414"/>
            <a:ext cx="8610600" cy="6170586"/>
          </a:xfrm>
          <a:prstGeom prst="rect">
            <a:avLst/>
          </a:prstGeom>
        </p:spPr>
      </p:pic>
      <p:pic>
        <p:nvPicPr>
          <p:cNvPr id="5" name="Picture 4">
            <a:extLst>
              <a:ext uri="{FF2B5EF4-FFF2-40B4-BE49-F238E27FC236}">
                <a16:creationId xmlns:a16="http://schemas.microsoft.com/office/drawing/2014/main" id="{F2971067-A561-5BB1-DD01-5CC7DC900A88}"/>
              </a:ext>
            </a:extLst>
          </p:cNvPr>
          <p:cNvPicPr>
            <a:picLocks noChangeAspect="1"/>
          </p:cNvPicPr>
          <p:nvPr userDrawn="1"/>
        </p:nvPicPr>
        <p:blipFill rotWithShape="1">
          <a:blip r:embed="rId3"/>
          <a:srcRect l="-456" t="55544" r="78234"/>
          <a:stretch/>
        </p:blipFill>
        <p:spPr>
          <a:xfrm>
            <a:off x="0" y="3449692"/>
            <a:ext cx="3029607" cy="3408308"/>
          </a:xfrm>
          <a:prstGeom prst="rect">
            <a:avLst/>
          </a:prstGeom>
        </p:spPr>
      </p:pic>
      <p:sp>
        <p:nvSpPr>
          <p:cNvPr id="6" name="TextBox 5">
            <a:extLst>
              <a:ext uri="{FF2B5EF4-FFF2-40B4-BE49-F238E27FC236}">
                <a16:creationId xmlns:a16="http://schemas.microsoft.com/office/drawing/2014/main" id="{BA1C91D2-979E-EBEF-A9AC-8C241BA5DE70}"/>
              </a:ext>
            </a:extLst>
          </p:cNvPr>
          <p:cNvSpPr txBox="1"/>
          <p:nvPr userDrawn="1"/>
        </p:nvSpPr>
        <p:spPr>
          <a:xfrm>
            <a:off x="577414" y="649822"/>
            <a:ext cx="8881896" cy="1096903"/>
          </a:xfrm>
          <a:prstGeom prst="rect">
            <a:avLst/>
          </a:prstGeom>
          <a:noFill/>
        </p:spPr>
        <p:txBody>
          <a:bodyPr wrap="square" lIns="0" tIns="0" rIns="0" bIns="0" rtlCol="0">
            <a:spAutoFit/>
          </a:bodyPr>
          <a:lstStyle/>
          <a:p>
            <a:pPr>
              <a:lnSpc>
                <a:spcPct val="80000"/>
              </a:lnSpc>
            </a:pPr>
            <a:r>
              <a:rPr lang="en-US" sz="4400" b="1" cap="all">
                <a:latin typeface="Open Sans" panose="020B0606030504020204" pitchFamily="34" charset="0"/>
                <a:ea typeface="Open Sans" panose="020B0606030504020204" pitchFamily="34" charset="0"/>
                <a:cs typeface="Open Sans" panose="020B0606030504020204" pitchFamily="34" charset="0"/>
              </a:rPr>
              <a:t>Administrative Modernization Program</a:t>
            </a:r>
          </a:p>
        </p:txBody>
      </p:sp>
      <p:sp>
        <p:nvSpPr>
          <p:cNvPr id="7" name="TextBox 6">
            <a:extLst>
              <a:ext uri="{FF2B5EF4-FFF2-40B4-BE49-F238E27FC236}">
                <a16:creationId xmlns:a16="http://schemas.microsoft.com/office/drawing/2014/main" id="{34321736-2593-A7FE-D119-517E146837A9}"/>
              </a:ext>
            </a:extLst>
          </p:cNvPr>
          <p:cNvSpPr txBox="1"/>
          <p:nvPr userDrawn="1"/>
        </p:nvSpPr>
        <p:spPr>
          <a:xfrm>
            <a:off x="522822" y="1982714"/>
            <a:ext cx="5791379" cy="307777"/>
          </a:xfrm>
          <a:prstGeom prst="rect">
            <a:avLst/>
          </a:prstGeom>
          <a:noFill/>
        </p:spPr>
        <p:txBody>
          <a:bodyPr wrap="square" rtlCol="0">
            <a:spAutoFit/>
          </a:bodyPr>
          <a:lstStyle/>
          <a:p>
            <a:r>
              <a:rPr lang="en-US" sz="1400" b="1" cap="all" err="1">
                <a:latin typeface="Open Sans" panose="020B0606030504020204" pitchFamily="34" charset="0"/>
                <a:ea typeface="Open Sans" panose="020B0606030504020204" pitchFamily="34" charset="0"/>
                <a:cs typeface="Open Sans" panose="020B0606030504020204" pitchFamily="34" charset="0"/>
              </a:rPr>
              <a:t>AmP</a:t>
            </a:r>
            <a:r>
              <a:rPr lang="en-US" sz="1400" b="1" cap="all">
                <a:latin typeface="Open Sans" panose="020B0606030504020204" pitchFamily="34" charset="0"/>
                <a:ea typeface="Open Sans" panose="020B0606030504020204" pitchFamily="34" charset="0"/>
                <a:cs typeface="Open Sans" panose="020B0606030504020204" pitchFamily="34" charset="0"/>
              </a:rPr>
              <a:t> Meeting </a:t>
            </a:r>
            <a:r>
              <a:rPr lang="en-US" sz="1400" b="1" cap="all">
                <a:solidFill>
                  <a:srgbClr val="E05529"/>
                </a:solidFill>
                <a:latin typeface="Open Sans" panose="020B0606030504020204" pitchFamily="34" charset="0"/>
                <a:ea typeface="Open Sans" panose="020B0606030504020204" pitchFamily="34" charset="0"/>
                <a:cs typeface="Open Sans" panose="020B0606030504020204" pitchFamily="34" charset="0"/>
              </a:rPr>
              <a:t>//</a:t>
            </a:r>
            <a:r>
              <a:rPr lang="en-US" sz="1400" cap="all">
                <a:latin typeface="Open Sans" panose="020B0606030504020204" pitchFamily="34" charset="0"/>
                <a:ea typeface="Open Sans" panose="020B0606030504020204" pitchFamily="34" charset="0"/>
                <a:cs typeface="Open Sans" panose="020B0606030504020204" pitchFamily="34" charset="0"/>
              </a:rPr>
              <a:t> </a:t>
            </a:r>
            <a:r>
              <a:rPr lang="en-US" sz="1400" b="1" cap="all">
                <a:latin typeface="Open Sans" panose="020B0606030504020204" pitchFamily="34" charset="0"/>
                <a:ea typeface="Open Sans" panose="020B0606030504020204" pitchFamily="34" charset="0"/>
                <a:cs typeface="Open Sans" panose="020B0606030504020204" pitchFamily="34" charset="0"/>
              </a:rPr>
              <a:t>May 23, 2024</a:t>
            </a:r>
          </a:p>
        </p:txBody>
      </p:sp>
      <p:pic>
        <p:nvPicPr>
          <p:cNvPr id="8" name="Picture 7">
            <a:extLst>
              <a:ext uri="{FF2B5EF4-FFF2-40B4-BE49-F238E27FC236}">
                <a16:creationId xmlns:a16="http://schemas.microsoft.com/office/drawing/2014/main" id="{782BAA31-84BC-66FC-6249-6EF701C1370A}"/>
              </a:ext>
            </a:extLst>
          </p:cNvPr>
          <p:cNvPicPr>
            <a:picLocks noChangeAspect="1"/>
          </p:cNvPicPr>
          <p:nvPr userDrawn="1"/>
        </p:nvPicPr>
        <p:blipFill>
          <a:blip r:embed="rId4"/>
          <a:stretch>
            <a:fillRect/>
          </a:stretch>
        </p:blipFill>
        <p:spPr>
          <a:xfrm>
            <a:off x="544087" y="2728687"/>
            <a:ext cx="3351799" cy="999772"/>
          </a:xfrm>
          <a:prstGeom prst="rect">
            <a:avLst/>
          </a:prstGeom>
        </p:spPr>
      </p:pic>
    </p:spTree>
    <p:extLst>
      <p:ext uri="{BB962C8B-B14F-4D97-AF65-F5344CB8AC3E}">
        <p14:creationId xmlns:p14="http://schemas.microsoft.com/office/powerpoint/2010/main" val="22653306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C50525C-78DC-90C8-D910-E4F9658144E5}"/>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b="18164"/>
          <a:stretch/>
        </p:blipFill>
        <p:spPr>
          <a:xfrm>
            <a:off x="-17929" y="0"/>
            <a:ext cx="3886200" cy="6878287"/>
          </a:xfrm>
          <a:prstGeom prst="rect">
            <a:avLst/>
          </a:prstGeom>
        </p:spPr>
      </p:pic>
      <p:sp>
        <p:nvSpPr>
          <p:cNvPr id="4" name="TextBox 3">
            <a:extLst>
              <a:ext uri="{FF2B5EF4-FFF2-40B4-BE49-F238E27FC236}">
                <a16:creationId xmlns:a16="http://schemas.microsoft.com/office/drawing/2014/main" id="{D49CE08C-8B49-D08C-A9D7-4B0C20690241}"/>
              </a:ext>
            </a:extLst>
          </p:cNvPr>
          <p:cNvSpPr txBox="1"/>
          <p:nvPr userDrawn="1"/>
        </p:nvSpPr>
        <p:spPr>
          <a:xfrm>
            <a:off x="4847387" y="1169325"/>
            <a:ext cx="6323121" cy="459806"/>
          </a:xfrm>
          <a:prstGeom prst="rect">
            <a:avLst/>
          </a:prstGeom>
          <a:noFill/>
        </p:spPr>
        <p:txBody>
          <a:bodyPr wrap="square" lIns="0" tIns="0" rIns="0" bIns="0" rtlCol="0">
            <a:spAutoFit/>
          </a:bodyPr>
          <a:lstStyle/>
          <a:p>
            <a:pPr>
              <a:lnSpc>
                <a:spcPct val="80000"/>
              </a:lnSpc>
            </a:pPr>
            <a:r>
              <a:rPr lang="en-US" sz="3600" b="1" i="0" kern="1200" cap="all" noProof="0">
                <a:solidFill>
                  <a:schemeClr val="tx1"/>
                </a:solidFill>
                <a:latin typeface="Stratum2 Black" panose="020B0506030000020004" pitchFamily="34" charset="77"/>
                <a:ea typeface="Open Sans" panose="020B0606030504020204" pitchFamily="34" charset="0"/>
                <a:cs typeface="Open Sans" panose="020B0606030504020204" pitchFamily="34" charset="0"/>
              </a:rPr>
              <a:t>agenda</a:t>
            </a:r>
            <a:endParaRPr lang="en-US" sz="3600" b="1" i="0" kern="1200" cap="all">
              <a:solidFill>
                <a:schemeClr val="tx1"/>
              </a:solidFill>
              <a:latin typeface="Stratum2 Black" panose="020B0506030000020004" pitchFamily="34" charset="77"/>
              <a:ea typeface="Open Sans" panose="020B0606030504020204" pitchFamily="34" charset="0"/>
              <a:cs typeface="Open Sans" panose="020B0606030504020204" pitchFamily="34" charset="0"/>
            </a:endParaRPr>
          </a:p>
        </p:txBody>
      </p:sp>
      <p:sp>
        <p:nvSpPr>
          <p:cNvPr id="10" name="Parallelogram 9">
            <a:extLst>
              <a:ext uri="{FF2B5EF4-FFF2-40B4-BE49-F238E27FC236}">
                <a16:creationId xmlns:a16="http://schemas.microsoft.com/office/drawing/2014/main" id="{6E706C5D-EA2A-058D-BA31-B99B3859A583}"/>
              </a:ext>
            </a:extLst>
          </p:cNvPr>
          <p:cNvSpPr/>
          <p:nvPr userDrawn="1"/>
        </p:nvSpPr>
        <p:spPr>
          <a:xfrm>
            <a:off x="4847387" y="1784732"/>
            <a:ext cx="2156605" cy="174786"/>
          </a:xfrm>
          <a:prstGeom prst="parallelogram">
            <a:avLst>
              <a:gd name="adj" fmla="val 52423"/>
            </a:avLst>
          </a:prstGeom>
          <a:solidFill>
            <a:srgbClr val="D73F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301F5550-5C38-E3E8-A6A8-4ABE671FEFD0}"/>
              </a:ext>
            </a:extLst>
          </p:cNvPr>
          <p:cNvSpPr/>
          <p:nvPr userDrawn="1"/>
        </p:nvSpPr>
        <p:spPr>
          <a:xfrm>
            <a:off x="0" y="580"/>
            <a:ext cx="3886200" cy="6858000"/>
          </a:xfrm>
          <a:prstGeom prst="rect">
            <a:avLst/>
          </a:prstGeom>
          <a:blipFill>
            <a:blip>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15741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838200" y="1659835"/>
            <a:ext cx="10515600"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64A15869-A9E5-C6CD-5668-C988DCA1A116}"/>
              </a:ext>
            </a:extLst>
          </p:cNvPr>
          <p:cNvSpPr>
            <a:spLocks noGrp="1"/>
          </p:cNvSpPr>
          <p:nvPr>
            <p:ph type="body" sz="quarter" idx="10" hasCustomPrompt="1"/>
          </p:nvPr>
        </p:nvSpPr>
        <p:spPr>
          <a:xfrm>
            <a:off x="838200" y="1172816"/>
            <a:ext cx="10515600" cy="401983"/>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
        <p:nvSpPr>
          <p:cNvPr id="5" name="Parallelogram 4">
            <a:extLst>
              <a:ext uri="{FF2B5EF4-FFF2-40B4-BE49-F238E27FC236}">
                <a16:creationId xmlns:a16="http://schemas.microsoft.com/office/drawing/2014/main" id="{3DEE58C9-DC42-5204-94B9-D93F060F9844}"/>
              </a:ext>
            </a:extLst>
          </p:cNvPr>
          <p:cNvSpPr/>
          <p:nvPr userDrawn="1"/>
        </p:nvSpPr>
        <p:spPr>
          <a:xfrm>
            <a:off x="838200" y="926398"/>
            <a:ext cx="2156605" cy="174786"/>
          </a:xfrm>
          <a:prstGeom prst="parallelogram">
            <a:avLst>
              <a:gd name="adj" fmla="val 52423"/>
            </a:avLst>
          </a:prstGeom>
          <a:solidFill>
            <a:srgbClr val="D73F09"/>
          </a:solidFill>
          <a:ln>
            <a:solidFill>
              <a:srgbClr val="D73F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17222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838200" y="1659835"/>
            <a:ext cx="5121814" cy="4517128"/>
          </a:xfrm>
          <a:prstGeom prst="rect">
            <a:avLst/>
          </a:prstGeom>
          <a:ln>
            <a:solidFill>
              <a:schemeClr val="tx1"/>
            </a:solidFill>
          </a:ln>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312A2649-8036-0193-B15E-4F4106E0AE31}"/>
              </a:ext>
            </a:extLst>
          </p:cNvPr>
          <p:cNvSpPr>
            <a:spLocks noGrp="1"/>
          </p:cNvSpPr>
          <p:nvPr>
            <p:ph idx="10" hasCustomPrompt="1"/>
          </p:nvPr>
        </p:nvSpPr>
        <p:spPr>
          <a:xfrm>
            <a:off x="6231987" y="1659835"/>
            <a:ext cx="5124157" cy="4517128"/>
          </a:xfrm>
          <a:prstGeom prst="rect">
            <a:avLst/>
          </a:prstGeom>
          <a:ln>
            <a:solidFill>
              <a:schemeClr val="tx1"/>
            </a:solidFill>
          </a:ln>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a:extLst>
              <a:ext uri="{FF2B5EF4-FFF2-40B4-BE49-F238E27FC236}">
                <a16:creationId xmlns:a16="http://schemas.microsoft.com/office/drawing/2014/main" id="{5F2EAFDB-5301-9B40-EAE6-6600794A292D}"/>
              </a:ext>
            </a:extLst>
          </p:cNvPr>
          <p:cNvSpPr>
            <a:spLocks noGrp="1"/>
          </p:cNvSpPr>
          <p:nvPr>
            <p:ph type="body" sz="quarter" idx="11" hasCustomPrompt="1"/>
          </p:nvPr>
        </p:nvSpPr>
        <p:spPr>
          <a:xfrm>
            <a:off x="838200" y="1017588"/>
            <a:ext cx="1051560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Tree>
    <p:extLst>
      <p:ext uri="{BB962C8B-B14F-4D97-AF65-F5344CB8AC3E}">
        <p14:creationId xmlns:p14="http://schemas.microsoft.com/office/powerpoint/2010/main" val="3255723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68147-706F-4056-5D71-99E3356C7B67}"/>
              </a:ext>
            </a:extLst>
          </p:cNvPr>
          <p:cNvSpPr>
            <a:spLocks noGrp="1"/>
          </p:cNvSpPr>
          <p:nvPr>
            <p:ph type="title"/>
          </p:nvPr>
        </p:nvSpPr>
        <p:spPr>
          <a:xfrm>
            <a:off x="838201" y="365126"/>
            <a:ext cx="6378526" cy="489640"/>
          </a:xfrm>
        </p:spPr>
        <p:txBody>
          <a:bodyPr/>
          <a:lstStyle/>
          <a:p>
            <a:r>
              <a:rPr lang="en-US"/>
              <a:t>Click to edit Master title style</a:t>
            </a:r>
          </a:p>
        </p:txBody>
      </p:sp>
      <p:sp>
        <p:nvSpPr>
          <p:cNvPr id="4" name="Picture Placeholder 3">
            <a:extLst>
              <a:ext uri="{FF2B5EF4-FFF2-40B4-BE49-F238E27FC236}">
                <a16:creationId xmlns:a16="http://schemas.microsoft.com/office/drawing/2014/main" id="{85C6A935-1C5D-FF05-9133-4C36E6C9CC9C}"/>
              </a:ext>
            </a:extLst>
          </p:cNvPr>
          <p:cNvSpPr>
            <a:spLocks noGrp="1"/>
          </p:cNvSpPr>
          <p:nvPr>
            <p:ph type="pic" sz="quarter" idx="10"/>
          </p:nvPr>
        </p:nvSpPr>
        <p:spPr>
          <a:xfrm>
            <a:off x="7807569" y="0"/>
            <a:ext cx="4384431" cy="6858000"/>
          </a:xfrm>
          <a:prstGeom prst="rect">
            <a:avLst/>
          </a:prstGeom>
          <a:pattFill prst="pct30">
            <a:fgClr>
              <a:schemeClr val="accent3"/>
            </a:fgClr>
            <a:bgClr>
              <a:schemeClr val="bg1"/>
            </a:bgClr>
          </a:pattFill>
        </p:spPr>
        <p:txBody>
          <a:bodyPr/>
          <a:lstStyle/>
          <a:p>
            <a:r>
              <a:rPr lang="en-US"/>
              <a:t>Click icon to add picture</a:t>
            </a:r>
          </a:p>
        </p:txBody>
      </p:sp>
      <p:sp>
        <p:nvSpPr>
          <p:cNvPr id="6" name="Text Placeholder 2">
            <a:extLst>
              <a:ext uri="{FF2B5EF4-FFF2-40B4-BE49-F238E27FC236}">
                <a16:creationId xmlns:a16="http://schemas.microsoft.com/office/drawing/2014/main" id="{74E5A180-10FE-0EA2-7F5A-7F16AABCED42}"/>
              </a:ext>
            </a:extLst>
          </p:cNvPr>
          <p:cNvSpPr>
            <a:spLocks noGrp="1"/>
          </p:cNvSpPr>
          <p:nvPr>
            <p:ph idx="1" hasCustomPrompt="1"/>
          </p:nvPr>
        </p:nvSpPr>
        <p:spPr>
          <a:xfrm>
            <a:off x="838200" y="1659835"/>
            <a:ext cx="6378526"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3F6CA6E4-2697-C77B-7013-1E033E975973}"/>
              </a:ext>
            </a:extLst>
          </p:cNvPr>
          <p:cNvSpPr>
            <a:spLocks noGrp="1"/>
          </p:cNvSpPr>
          <p:nvPr>
            <p:ph type="body" sz="quarter" idx="11" hasCustomPrompt="1"/>
          </p:nvPr>
        </p:nvSpPr>
        <p:spPr>
          <a:xfrm>
            <a:off x="838200" y="1017588"/>
            <a:ext cx="644872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Tree>
    <p:extLst>
      <p:ext uri="{BB962C8B-B14F-4D97-AF65-F5344CB8AC3E}">
        <p14:creationId xmlns:p14="http://schemas.microsoft.com/office/powerpoint/2010/main" val="22286284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potlight">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16957E4C-DA0B-6B36-3D15-000537A2E124}"/>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t="2036" b="6314"/>
          <a:stretch/>
        </p:blipFill>
        <p:spPr>
          <a:xfrm>
            <a:off x="0" y="580"/>
            <a:ext cx="3814674" cy="6857420"/>
          </a:xfrm>
          <a:prstGeom prst="rect">
            <a:avLst/>
          </a:prstGeom>
        </p:spPr>
      </p:pic>
      <p:sp>
        <p:nvSpPr>
          <p:cNvPr id="10" name="Text Placeholder 9">
            <a:extLst>
              <a:ext uri="{FF2B5EF4-FFF2-40B4-BE49-F238E27FC236}">
                <a16:creationId xmlns:a16="http://schemas.microsoft.com/office/drawing/2014/main" id="{10E61560-ED41-7195-20EB-E1B021C19541}"/>
              </a:ext>
            </a:extLst>
          </p:cNvPr>
          <p:cNvSpPr>
            <a:spLocks noGrp="1"/>
          </p:cNvSpPr>
          <p:nvPr>
            <p:ph type="body" sz="quarter" idx="10"/>
          </p:nvPr>
        </p:nvSpPr>
        <p:spPr>
          <a:xfrm>
            <a:off x="4835524" y="857250"/>
            <a:ext cx="3177259" cy="706438"/>
          </a:xfrm>
        </p:spPr>
        <p:txBody>
          <a:bodyPr>
            <a:noAutofit/>
          </a:bodyPr>
          <a:lstStyle>
            <a:lvl1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2pPr>
            <a:lvl3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3pPr>
            <a:lvl4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4pPr>
            <a:lvl5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endParaRPr lang="en-US"/>
          </a:p>
        </p:txBody>
      </p:sp>
      <p:sp>
        <p:nvSpPr>
          <p:cNvPr id="12" name="Text Placeholder 11">
            <a:extLst>
              <a:ext uri="{FF2B5EF4-FFF2-40B4-BE49-F238E27FC236}">
                <a16:creationId xmlns:a16="http://schemas.microsoft.com/office/drawing/2014/main" id="{F471CA08-6A27-56B9-0416-5348FEC12A79}"/>
              </a:ext>
            </a:extLst>
          </p:cNvPr>
          <p:cNvSpPr>
            <a:spLocks noGrp="1"/>
          </p:cNvSpPr>
          <p:nvPr>
            <p:ph type="body" sz="quarter" idx="11" hasCustomPrompt="1"/>
          </p:nvPr>
        </p:nvSpPr>
        <p:spPr>
          <a:xfrm>
            <a:off x="4835525" y="2103438"/>
            <a:ext cx="3629745" cy="412750"/>
          </a:xfrm>
        </p:spPr>
        <p:txBody>
          <a:bodyPr>
            <a:noAutofit/>
          </a:bodyPr>
          <a:lstStyle>
            <a:lvl1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2pPr>
            <a:lvl3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3pPr>
            <a:lvl4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4pPr>
            <a:lvl5pPr marL="0" algn="l" defTabSz="914400" rtl="0" eaLnBrk="1" latinLnBrk="0" hangingPunct="1">
              <a:lnSpc>
                <a:spcPct val="150000"/>
              </a:lnSpc>
              <a:defRPr lang="en-US" sz="1800" kern="1200" dirty="0">
                <a:solidFill>
                  <a:srgbClr val="D73F09"/>
                </a:solidFill>
                <a:latin typeface="Open Sans" panose="020B0606030504020204" pitchFamily="34" charset="0"/>
                <a:ea typeface="Open Sans" panose="020B0606030504020204" pitchFamily="34" charset="0"/>
                <a:cs typeface="Open Sans" panose="020B0606030504020204" pitchFamily="34" charset="0"/>
              </a:defRPr>
            </a:lvl5pPr>
          </a:lstStyle>
          <a:p>
            <a:pPr defTabSz="914400">
              <a:lnSpc>
                <a:spcPct val="150000"/>
              </a:lnSpc>
            </a:pPr>
            <a:r>
              <a:rPr lang="en-US">
                <a:solidFill>
                  <a:srgbClr val="D73F09"/>
                </a:solidFill>
                <a:latin typeface="Open Sans" panose="020B0606030504020204" pitchFamily="34" charset="0"/>
                <a:ea typeface="Open Sans" panose="020B0606030504020204" pitchFamily="34" charset="0"/>
                <a:cs typeface="Open Sans" panose="020B0606030504020204" pitchFamily="34" charset="0"/>
              </a:rPr>
              <a:t>Adaptive, Financial Planning</a:t>
            </a:r>
          </a:p>
        </p:txBody>
      </p:sp>
      <p:sp>
        <p:nvSpPr>
          <p:cNvPr id="14" name="Picture Placeholder 13">
            <a:extLst>
              <a:ext uri="{FF2B5EF4-FFF2-40B4-BE49-F238E27FC236}">
                <a16:creationId xmlns:a16="http://schemas.microsoft.com/office/drawing/2014/main" id="{21A9BF0F-9359-CF3D-0F50-05E94A92F454}"/>
              </a:ext>
            </a:extLst>
          </p:cNvPr>
          <p:cNvSpPr>
            <a:spLocks noGrp="1"/>
          </p:cNvSpPr>
          <p:nvPr>
            <p:ph type="pic" sz="quarter" idx="12"/>
          </p:nvPr>
        </p:nvSpPr>
        <p:spPr>
          <a:xfrm>
            <a:off x="4835524" y="2650989"/>
            <a:ext cx="422214" cy="424647"/>
          </a:xfrm>
          <a:blipFill dpi="0" rotWithShape="1">
            <a:blip r:embed="rId3"/>
            <a:srcRect/>
            <a:tile tx="0" ty="0" sx="100000" sy="100000" flip="none" algn="tl"/>
          </a:blipFill>
        </p:spPr>
        <p:txBody>
          <a:bodyPr/>
          <a:lstStyle>
            <a:lvl1pPr marL="0" indent="0">
              <a:buNone/>
              <a:defRPr>
                <a:noFill/>
              </a:defRPr>
            </a:lvl1pPr>
          </a:lstStyle>
          <a:p>
            <a:endParaRPr lang="en-US"/>
          </a:p>
        </p:txBody>
      </p:sp>
      <p:sp>
        <p:nvSpPr>
          <p:cNvPr id="16" name="Text Placeholder 11">
            <a:extLst>
              <a:ext uri="{FF2B5EF4-FFF2-40B4-BE49-F238E27FC236}">
                <a16:creationId xmlns:a16="http://schemas.microsoft.com/office/drawing/2014/main" id="{F0DCC4CB-68BE-E25D-C216-6FA05F2E99EF}"/>
              </a:ext>
            </a:extLst>
          </p:cNvPr>
          <p:cNvSpPr>
            <a:spLocks noGrp="1"/>
          </p:cNvSpPr>
          <p:nvPr>
            <p:ph type="body" sz="quarter" idx="13" hasCustomPrompt="1"/>
          </p:nvPr>
        </p:nvSpPr>
        <p:spPr>
          <a:xfrm>
            <a:off x="5360665" y="2662886"/>
            <a:ext cx="3629745" cy="412750"/>
          </a:xfrm>
        </p:spPr>
        <p:txBody>
          <a:bodyPr>
            <a:noAutofit/>
          </a:bodyPr>
          <a:lstStyle>
            <a:lvl1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2pPr>
            <a:lvl3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3pPr>
            <a:lvl4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4pPr>
            <a:lvl5pPr marL="0" algn="l" defTabSz="914400" rtl="0" eaLnBrk="1" latinLnBrk="0" hangingPunct="1">
              <a:lnSpc>
                <a:spcPct val="150000"/>
              </a:lnSpc>
              <a:defRPr lang="en-US" sz="1800" kern="1200" dirty="0">
                <a:solidFill>
                  <a:srgbClr val="D73F09"/>
                </a:solidFill>
                <a:latin typeface="Open Sans" panose="020B0606030504020204" pitchFamily="34" charset="0"/>
                <a:ea typeface="Open Sans" panose="020B0606030504020204" pitchFamily="34" charset="0"/>
                <a:cs typeface="Open Sans" panose="020B0606030504020204" pitchFamily="34" charset="0"/>
              </a:defRPr>
            </a:lvl5pPr>
          </a:lstStyle>
          <a:p>
            <a:r>
              <a:rPr lang="en-US" sz="1800" b="1">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VALUE + BENEFITS</a:t>
            </a:r>
            <a:endParaRPr lang="en-US" b="1">
              <a:latin typeface="Open Sans" panose="020B0606030504020204" pitchFamily="34" charset="0"/>
              <a:ea typeface="Open Sans" panose="020B0606030504020204" pitchFamily="34" charset="0"/>
              <a:cs typeface="Open Sans" panose="020B0606030504020204" pitchFamily="34" charset="0"/>
            </a:endParaRPr>
          </a:p>
        </p:txBody>
      </p:sp>
      <p:sp>
        <p:nvSpPr>
          <p:cNvPr id="18" name="Content Placeholder 17">
            <a:extLst>
              <a:ext uri="{FF2B5EF4-FFF2-40B4-BE49-F238E27FC236}">
                <a16:creationId xmlns:a16="http://schemas.microsoft.com/office/drawing/2014/main" id="{5C138A80-BCA0-1A84-D6AC-3359931BB076}"/>
              </a:ext>
            </a:extLst>
          </p:cNvPr>
          <p:cNvSpPr>
            <a:spLocks noGrp="1"/>
          </p:cNvSpPr>
          <p:nvPr>
            <p:ph sz="quarter" idx="14" hasCustomPrompt="1"/>
          </p:nvPr>
        </p:nvSpPr>
        <p:spPr>
          <a:xfrm>
            <a:off x="4835524" y="3222334"/>
            <a:ext cx="5351463" cy="1916113"/>
          </a:xfrm>
        </p:spPr>
        <p:txBody>
          <a:bodyPr>
            <a:normAutofit/>
          </a:bodyPr>
          <a:lstStyle>
            <a:lvl1pPr marL="0" indent="0" algn="l" defTabSz="914400" rtl="0" eaLnBrk="1" latinLnBrk="0" hangingPunct="1">
              <a:buNone/>
              <a:defRPr lang="en-US" sz="1800" kern="1200"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Highly interactive user-friendly interface for self-service reporting. Real-time visualization of data and instantly see the impact of adjustments. Provides budgeting, forecasting, reporting, and analytics for all OSU campuses. </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72402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a:xfrm>
            <a:off x="4204251" y="365126"/>
            <a:ext cx="6231835" cy="489640"/>
          </a:xfrm>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4204252" y="1659835"/>
            <a:ext cx="7149548"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04673677-06BA-3275-58B5-46BEAB950CBD}"/>
              </a:ext>
            </a:extLst>
          </p:cNvPr>
          <p:cNvPicPr>
            <a:picLocks noChangeAspect="1"/>
          </p:cNvPicPr>
          <p:nvPr userDrawn="1"/>
        </p:nvPicPr>
        <p:blipFill rotWithShape="1">
          <a:blip>
            <a:extLst>
              <a:ext uri="{96DAC541-7B7A-43D3-8B79-37D633B846F1}">
                <asvg:svgBlip xmlns:asvg="http://schemas.microsoft.com/office/drawing/2016/SVG/main" r:embed="rId2"/>
              </a:ext>
            </a:extLst>
          </a:blip>
          <a:srcRect t="2036" b="6314"/>
          <a:stretch/>
        </p:blipFill>
        <p:spPr>
          <a:xfrm>
            <a:off x="0" y="580"/>
            <a:ext cx="3814674" cy="6857420"/>
          </a:xfrm>
          <a:prstGeom prst="rect">
            <a:avLst/>
          </a:prstGeom>
        </p:spPr>
      </p:pic>
    </p:spTree>
    <p:extLst>
      <p:ext uri="{BB962C8B-B14F-4D97-AF65-F5344CB8AC3E}">
        <p14:creationId xmlns:p14="http://schemas.microsoft.com/office/powerpoint/2010/main" val="29525345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BECC5-8ABF-B602-3FA7-E079C7D03F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0165E61-7954-C505-C846-EAA84F5A89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A22EF7B-3E43-6545-A8A9-3A93FC6D35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1888365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BA009-09C3-A63F-881D-CD5259FC4E49}"/>
              </a:ext>
            </a:extLst>
          </p:cNvPr>
          <p:cNvSpPr>
            <a:spLocks noGrp="1"/>
          </p:cNvSpPr>
          <p:nvPr>
            <p:ph type="title" hasCustomPrompt="1"/>
          </p:nvPr>
        </p:nvSpPr>
        <p:spPr/>
        <p:txBody>
          <a:bodyPr/>
          <a:lstStyle>
            <a:lvl1pPr>
              <a:defRPr/>
            </a:lvl1pPr>
          </a:lstStyle>
          <a:p>
            <a:r>
              <a:rPr lang="en-US"/>
              <a:t>Slide Title Here </a:t>
            </a:r>
          </a:p>
        </p:txBody>
      </p:sp>
      <p:sp>
        <p:nvSpPr>
          <p:cNvPr id="3" name="Text Placeholder 8">
            <a:extLst>
              <a:ext uri="{FF2B5EF4-FFF2-40B4-BE49-F238E27FC236}">
                <a16:creationId xmlns:a16="http://schemas.microsoft.com/office/drawing/2014/main" id="{CAAC3E7B-525D-E50E-1746-24AF437B44F4}"/>
              </a:ext>
            </a:extLst>
          </p:cNvPr>
          <p:cNvSpPr>
            <a:spLocks noGrp="1"/>
          </p:cNvSpPr>
          <p:nvPr>
            <p:ph type="body" sz="quarter" idx="10" hasCustomPrompt="1"/>
          </p:nvPr>
        </p:nvSpPr>
        <p:spPr>
          <a:xfrm>
            <a:off x="838200" y="1017588"/>
            <a:ext cx="1051560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
        <p:nvSpPr>
          <p:cNvPr id="5" name="Content Placeholder 4">
            <a:extLst>
              <a:ext uri="{FF2B5EF4-FFF2-40B4-BE49-F238E27FC236}">
                <a16:creationId xmlns:a16="http://schemas.microsoft.com/office/drawing/2014/main" id="{DC31BD84-772B-D686-B40D-B05AFA7D4C9A}"/>
              </a:ext>
            </a:extLst>
          </p:cNvPr>
          <p:cNvSpPr>
            <a:spLocks noGrp="1"/>
          </p:cNvSpPr>
          <p:nvPr>
            <p:ph sz="quarter" idx="11"/>
          </p:nvPr>
        </p:nvSpPr>
        <p:spPr>
          <a:xfrm>
            <a:off x="838200" y="1809750"/>
            <a:ext cx="1051560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63572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74237" y="658628"/>
            <a:ext cx="9879563" cy="494927"/>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Oval 5"/>
          <p:cNvSpPr/>
          <p:nvPr userDrawn="1"/>
        </p:nvSpPr>
        <p:spPr>
          <a:xfrm>
            <a:off x="697384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Oval 8"/>
          <p:cNvSpPr/>
          <p:nvPr userDrawn="1"/>
        </p:nvSpPr>
        <p:spPr>
          <a:xfrm>
            <a:off x="157416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Oval 9"/>
          <p:cNvSpPr/>
          <p:nvPr userDrawn="1"/>
        </p:nvSpPr>
        <p:spPr>
          <a:xfrm>
            <a:off x="4274009" y="2195519"/>
            <a:ext cx="3318691" cy="3318690"/>
          </a:xfrm>
          <a:prstGeom prst="ellipse">
            <a:avLst/>
          </a:prstGeom>
          <a:noFill/>
          <a:ln w="50800">
            <a:solidFill>
              <a:srgbClr val="B3B3B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1" name="Text Placeholder 4"/>
          <p:cNvSpPr>
            <a:spLocks noGrp="1"/>
          </p:cNvSpPr>
          <p:nvPr>
            <p:ph type="body" sz="quarter" idx="11"/>
          </p:nvPr>
        </p:nvSpPr>
        <p:spPr>
          <a:xfrm>
            <a:off x="4274009" y="2216577"/>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5" name="Text Placeholder 4"/>
          <p:cNvSpPr>
            <a:spLocks noGrp="1"/>
          </p:cNvSpPr>
          <p:nvPr>
            <p:ph type="body" sz="quarter" idx="10"/>
          </p:nvPr>
        </p:nvSpPr>
        <p:spPr>
          <a:xfrm>
            <a:off x="1574169" y="2222100"/>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12" name="Text Placeholder 4"/>
          <p:cNvSpPr>
            <a:spLocks noGrp="1"/>
          </p:cNvSpPr>
          <p:nvPr>
            <p:ph type="body" sz="quarter" idx="12"/>
          </p:nvPr>
        </p:nvSpPr>
        <p:spPr>
          <a:xfrm>
            <a:off x="6973849" y="2216681"/>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Tree>
    <p:extLst>
      <p:ext uri="{BB962C8B-B14F-4D97-AF65-F5344CB8AC3E}">
        <p14:creationId xmlns:p14="http://schemas.microsoft.com/office/powerpoint/2010/main" val="42319169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769C4-4126-5D1D-698F-D126575D13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A4F84D3-2903-7641-5D3D-DE5E0D0DDC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78125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Hexagon 2">
            <a:extLst>
              <a:ext uri="{FF2B5EF4-FFF2-40B4-BE49-F238E27FC236}">
                <a16:creationId xmlns:a16="http://schemas.microsoft.com/office/drawing/2014/main" id="{90E28A12-6F5D-3AAE-659F-5A2B857796A7}"/>
              </a:ext>
            </a:extLst>
          </p:cNvPr>
          <p:cNvSpPr/>
          <p:nvPr userDrawn="1"/>
        </p:nvSpPr>
        <p:spPr>
          <a:xfrm rot="5400000">
            <a:off x="6028703" y="1633600"/>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 name="Straight Connector 3">
            <a:extLst>
              <a:ext uri="{FF2B5EF4-FFF2-40B4-BE49-F238E27FC236}">
                <a16:creationId xmlns:a16="http://schemas.microsoft.com/office/drawing/2014/main" id="{B8E8C397-2EA4-DE2F-865D-D8BA1CDDF85B}"/>
              </a:ext>
            </a:extLst>
          </p:cNvPr>
          <p:cNvCxnSpPr>
            <a:cxnSpLocks/>
          </p:cNvCxnSpPr>
          <p:nvPr userDrawn="1"/>
        </p:nvCxnSpPr>
        <p:spPr>
          <a:xfrm>
            <a:off x="2005873" y="4697321"/>
            <a:ext cx="8311202" cy="1073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B92FDAD-D5E8-DD71-CBA9-836F24303B18}"/>
              </a:ext>
            </a:extLst>
          </p:cNvPr>
          <p:cNvCxnSpPr>
            <a:cxnSpLocks/>
          </p:cNvCxnSpPr>
          <p:nvPr userDrawn="1"/>
        </p:nvCxnSpPr>
        <p:spPr>
          <a:xfrm>
            <a:off x="4379176" y="4697319"/>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AE24AB9-E1E4-991D-5AEB-DE8E74DCF0F8}"/>
              </a:ext>
            </a:extLst>
          </p:cNvPr>
          <p:cNvCxnSpPr>
            <a:cxnSpLocks/>
          </p:cNvCxnSpPr>
          <p:nvPr userDrawn="1"/>
        </p:nvCxnSpPr>
        <p:spPr>
          <a:xfrm flipH="1">
            <a:off x="4787557" y="2790025"/>
            <a:ext cx="152212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77FA92F-49BC-BA52-8C57-C760D72F4C0C}"/>
              </a:ext>
            </a:extLst>
          </p:cNvPr>
          <p:cNvCxnSpPr>
            <a:cxnSpLocks/>
          </p:cNvCxnSpPr>
          <p:nvPr userDrawn="1"/>
        </p:nvCxnSpPr>
        <p:spPr>
          <a:xfrm>
            <a:off x="2005874" y="4697318"/>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75FBFB4-9E4D-02A6-D4FB-2D4B7BD60D9C}"/>
              </a:ext>
            </a:extLst>
          </p:cNvPr>
          <p:cNvCxnSpPr>
            <a:cxnSpLocks/>
          </p:cNvCxnSpPr>
          <p:nvPr userDrawn="1"/>
        </p:nvCxnSpPr>
        <p:spPr>
          <a:xfrm>
            <a:off x="8127666" y="4694708"/>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9CF69F6-8E65-6630-9DEC-843BDFE7FB63}"/>
              </a:ext>
            </a:extLst>
          </p:cNvPr>
          <p:cNvCxnSpPr>
            <a:cxnSpLocks/>
          </p:cNvCxnSpPr>
          <p:nvPr userDrawn="1"/>
        </p:nvCxnSpPr>
        <p:spPr>
          <a:xfrm>
            <a:off x="6312145" y="2544523"/>
            <a:ext cx="0" cy="782938"/>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C3E8EBF-1AA2-7CC0-4529-F821EAFFFE02}"/>
              </a:ext>
            </a:extLst>
          </p:cNvPr>
          <p:cNvSpPr txBox="1"/>
          <p:nvPr userDrawn="1"/>
        </p:nvSpPr>
        <p:spPr>
          <a:xfrm>
            <a:off x="5404840" y="2283864"/>
            <a:ext cx="1703794" cy="18094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CIO \ Vice Provost</a:t>
            </a:r>
          </a:p>
        </p:txBody>
      </p:sp>
      <p:sp>
        <p:nvSpPr>
          <p:cNvPr id="11" name="TextBox 10">
            <a:extLst>
              <a:ext uri="{FF2B5EF4-FFF2-40B4-BE49-F238E27FC236}">
                <a16:creationId xmlns:a16="http://schemas.microsoft.com/office/drawing/2014/main" id="{7D150F85-DBA9-FD2A-3C3F-0C3E7AA5E26A}"/>
              </a:ext>
            </a:extLst>
          </p:cNvPr>
          <p:cNvSpPr txBox="1"/>
          <p:nvPr userDrawn="1"/>
        </p:nvSpPr>
        <p:spPr>
          <a:xfrm>
            <a:off x="3126299" y="3202669"/>
            <a:ext cx="2532985" cy="35330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Enterprise Information Investment Committee</a:t>
            </a:r>
          </a:p>
        </p:txBody>
      </p:sp>
      <p:sp>
        <p:nvSpPr>
          <p:cNvPr id="12" name="Hexagon 11">
            <a:extLst>
              <a:ext uri="{FF2B5EF4-FFF2-40B4-BE49-F238E27FC236}">
                <a16:creationId xmlns:a16="http://schemas.microsoft.com/office/drawing/2014/main" id="{5D43C8BE-60D2-62FB-16AE-65CF2815636A}"/>
              </a:ext>
            </a:extLst>
          </p:cNvPr>
          <p:cNvSpPr/>
          <p:nvPr userDrawn="1"/>
        </p:nvSpPr>
        <p:spPr>
          <a:xfrm rot="5400000">
            <a:off x="4103264" y="2546327"/>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3F264DD9-97DA-0A24-D1AD-E6F22F39CE0C}"/>
              </a:ext>
            </a:extLst>
          </p:cNvPr>
          <p:cNvSpPr txBox="1"/>
          <p:nvPr userDrawn="1"/>
        </p:nvSpPr>
        <p:spPr>
          <a:xfrm>
            <a:off x="883427" y="5848054"/>
            <a:ext cx="1950064"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Implementation Partners</a:t>
            </a:r>
          </a:p>
        </p:txBody>
      </p:sp>
      <p:sp>
        <p:nvSpPr>
          <p:cNvPr id="14" name="Hexagon 13">
            <a:extLst>
              <a:ext uri="{FF2B5EF4-FFF2-40B4-BE49-F238E27FC236}">
                <a16:creationId xmlns:a16="http://schemas.microsoft.com/office/drawing/2014/main" id="{77DFC19F-37D5-EA2B-B8D3-06BD9C7FE8FE}"/>
              </a:ext>
            </a:extLst>
          </p:cNvPr>
          <p:cNvSpPr/>
          <p:nvPr userDrawn="1"/>
        </p:nvSpPr>
        <p:spPr>
          <a:xfrm rot="5400000">
            <a:off x="1725424" y="5138049"/>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42AB7B76-0901-858C-BE2E-C780E50E616A}"/>
              </a:ext>
            </a:extLst>
          </p:cNvPr>
          <p:cNvSpPr txBox="1"/>
          <p:nvPr userDrawn="1"/>
        </p:nvSpPr>
        <p:spPr>
          <a:xfrm>
            <a:off x="3523776" y="5850422"/>
            <a:ext cx="1703794" cy="18094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Project Teams</a:t>
            </a:r>
          </a:p>
        </p:txBody>
      </p:sp>
      <p:sp>
        <p:nvSpPr>
          <p:cNvPr id="16" name="Hexagon 15">
            <a:extLst>
              <a:ext uri="{FF2B5EF4-FFF2-40B4-BE49-F238E27FC236}">
                <a16:creationId xmlns:a16="http://schemas.microsoft.com/office/drawing/2014/main" id="{0FCF15A5-E9AC-0CD5-54E6-6558F71501E1}"/>
              </a:ext>
            </a:extLst>
          </p:cNvPr>
          <p:cNvSpPr/>
          <p:nvPr userDrawn="1"/>
        </p:nvSpPr>
        <p:spPr>
          <a:xfrm rot="5400000">
            <a:off x="4096270" y="5140418"/>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id="{457FD82C-6AF5-05DD-7C29-529A39CEB14C}"/>
              </a:ext>
            </a:extLst>
          </p:cNvPr>
          <p:cNvSpPr txBox="1"/>
          <p:nvPr userDrawn="1"/>
        </p:nvSpPr>
        <p:spPr>
          <a:xfrm>
            <a:off x="5399427" y="5847363"/>
            <a:ext cx="1849958"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Functional Coordinators</a:t>
            </a:r>
          </a:p>
        </p:txBody>
      </p:sp>
      <p:sp>
        <p:nvSpPr>
          <p:cNvPr id="18" name="Hexagon 17">
            <a:extLst>
              <a:ext uri="{FF2B5EF4-FFF2-40B4-BE49-F238E27FC236}">
                <a16:creationId xmlns:a16="http://schemas.microsoft.com/office/drawing/2014/main" id="{2147804A-DC5D-E7E0-5A2B-F5DCD64C744A}"/>
              </a:ext>
            </a:extLst>
          </p:cNvPr>
          <p:cNvSpPr/>
          <p:nvPr userDrawn="1"/>
        </p:nvSpPr>
        <p:spPr>
          <a:xfrm rot="5400000">
            <a:off x="6043839" y="5137358"/>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93F29A1C-E4D1-957C-3A8D-195572175F87}"/>
              </a:ext>
            </a:extLst>
          </p:cNvPr>
          <p:cNvSpPr txBox="1"/>
          <p:nvPr userDrawn="1"/>
        </p:nvSpPr>
        <p:spPr>
          <a:xfrm>
            <a:off x="5437410" y="4088513"/>
            <a:ext cx="1849958"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AMP Executive Director</a:t>
            </a:r>
          </a:p>
        </p:txBody>
      </p:sp>
      <p:sp>
        <p:nvSpPr>
          <p:cNvPr id="20" name="Hexagon 19">
            <a:extLst>
              <a:ext uri="{FF2B5EF4-FFF2-40B4-BE49-F238E27FC236}">
                <a16:creationId xmlns:a16="http://schemas.microsoft.com/office/drawing/2014/main" id="{EF0751DD-6A36-7889-DC26-0734B9D00118}"/>
              </a:ext>
            </a:extLst>
          </p:cNvPr>
          <p:cNvSpPr/>
          <p:nvPr userDrawn="1"/>
        </p:nvSpPr>
        <p:spPr>
          <a:xfrm rot="5400000">
            <a:off x="6017886" y="3475101"/>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Hexagon 20">
            <a:extLst>
              <a:ext uri="{FF2B5EF4-FFF2-40B4-BE49-F238E27FC236}">
                <a16:creationId xmlns:a16="http://schemas.microsoft.com/office/drawing/2014/main" id="{E3E04EE9-86D1-7D71-AAE5-F569248A5EAF}"/>
              </a:ext>
            </a:extLst>
          </p:cNvPr>
          <p:cNvSpPr/>
          <p:nvPr userDrawn="1"/>
        </p:nvSpPr>
        <p:spPr>
          <a:xfrm rot="5400000">
            <a:off x="7949208" y="2833946"/>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2" name="Graphic 21">
            <a:extLst>
              <a:ext uri="{FF2B5EF4-FFF2-40B4-BE49-F238E27FC236}">
                <a16:creationId xmlns:a16="http://schemas.microsoft.com/office/drawing/2014/main" id="{A7D9D1F0-3EA8-C59B-512B-4141BA4D1C2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234305" y="2687482"/>
            <a:ext cx="304800" cy="243840"/>
          </a:xfrm>
          <a:prstGeom prst="rect">
            <a:avLst/>
          </a:prstGeom>
        </p:spPr>
      </p:pic>
      <p:pic>
        <p:nvPicPr>
          <p:cNvPr id="23" name="Graphic 22">
            <a:extLst>
              <a:ext uri="{FF2B5EF4-FFF2-40B4-BE49-F238E27FC236}">
                <a16:creationId xmlns:a16="http://schemas.microsoft.com/office/drawing/2014/main" id="{279161EB-EF70-02BC-38D8-26EF94D960D8}"/>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8078551" y="2926303"/>
            <a:ext cx="304800" cy="243840"/>
          </a:xfrm>
          <a:prstGeom prst="rect">
            <a:avLst/>
          </a:prstGeom>
        </p:spPr>
      </p:pic>
      <p:pic>
        <p:nvPicPr>
          <p:cNvPr id="24" name="Graphic 23">
            <a:extLst>
              <a:ext uri="{FF2B5EF4-FFF2-40B4-BE49-F238E27FC236}">
                <a16:creationId xmlns:a16="http://schemas.microsoft.com/office/drawing/2014/main" id="{B290E022-2C68-EFF4-407E-6088D4D1CE5D}"/>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1850142" y="5261090"/>
            <a:ext cx="304800" cy="243840"/>
          </a:xfrm>
          <a:prstGeom prst="rect">
            <a:avLst/>
          </a:prstGeom>
        </p:spPr>
      </p:pic>
      <p:pic>
        <p:nvPicPr>
          <p:cNvPr id="25" name="Graphic 24">
            <a:extLst>
              <a:ext uri="{FF2B5EF4-FFF2-40B4-BE49-F238E27FC236}">
                <a16:creationId xmlns:a16="http://schemas.microsoft.com/office/drawing/2014/main" id="{9AEB2087-AD0E-2C13-2003-B017C1D988FE}"/>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6220704" y="1772189"/>
            <a:ext cx="182880" cy="243840"/>
          </a:xfrm>
          <a:prstGeom prst="rect">
            <a:avLst/>
          </a:prstGeom>
        </p:spPr>
      </p:pic>
      <p:cxnSp>
        <p:nvCxnSpPr>
          <p:cNvPr id="26" name="Straight Connector 25">
            <a:extLst>
              <a:ext uri="{FF2B5EF4-FFF2-40B4-BE49-F238E27FC236}">
                <a16:creationId xmlns:a16="http://schemas.microsoft.com/office/drawing/2014/main" id="{490C2413-3D47-04F8-C941-6B1248997D99}"/>
              </a:ext>
            </a:extLst>
          </p:cNvPr>
          <p:cNvCxnSpPr>
            <a:cxnSpLocks/>
          </p:cNvCxnSpPr>
          <p:nvPr userDrawn="1"/>
        </p:nvCxnSpPr>
        <p:spPr>
          <a:xfrm flipH="1">
            <a:off x="6309678" y="3076502"/>
            <a:ext cx="152212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D1AABAE-1623-E525-4B29-54C466077195}"/>
              </a:ext>
            </a:extLst>
          </p:cNvPr>
          <p:cNvSpPr txBox="1"/>
          <p:nvPr userDrawn="1"/>
        </p:nvSpPr>
        <p:spPr>
          <a:xfrm>
            <a:off x="7071084" y="3457797"/>
            <a:ext cx="2321375" cy="18094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AMP Steering Committee</a:t>
            </a:r>
          </a:p>
        </p:txBody>
      </p:sp>
      <p:cxnSp>
        <p:nvCxnSpPr>
          <p:cNvPr id="28" name="Straight Connector 27">
            <a:extLst>
              <a:ext uri="{FF2B5EF4-FFF2-40B4-BE49-F238E27FC236}">
                <a16:creationId xmlns:a16="http://schemas.microsoft.com/office/drawing/2014/main" id="{990A7A73-3CED-B6B8-198F-647DE16F1282}"/>
              </a:ext>
            </a:extLst>
          </p:cNvPr>
          <p:cNvCxnSpPr>
            <a:cxnSpLocks/>
          </p:cNvCxnSpPr>
          <p:nvPr userDrawn="1"/>
        </p:nvCxnSpPr>
        <p:spPr>
          <a:xfrm>
            <a:off x="6290216" y="4351805"/>
            <a:ext cx="10733" cy="61978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5580B55-FFD8-EE7A-4556-713598335FFA}"/>
              </a:ext>
            </a:extLst>
          </p:cNvPr>
          <p:cNvCxnSpPr>
            <a:cxnSpLocks/>
          </p:cNvCxnSpPr>
          <p:nvPr userDrawn="1"/>
        </p:nvCxnSpPr>
        <p:spPr>
          <a:xfrm>
            <a:off x="10319708" y="4695241"/>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8EFA65B-8684-F63B-55D1-3B971A5D14ED}"/>
              </a:ext>
            </a:extLst>
          </p:cNvPr>
          <p:cNvSpPr txBox="1"/>
          <p:nvPr userDrawn="1"/>
        </p:nvSpPr>
        <p:spPr>
          <a:xfrm>
            <a:off x="7357500" y="5769676"/>
            <a:ext cx="1538719" cy="521361"/>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Organizational Change Management</a:t>
            </a:r>
          </a:p>
        </p:txBody>
      </p:sp>
      <p:sp>
        <p:nvSpPr>
          <p:cNvPr id="31" name="Hexagon 30">
            <a:extLst>
              <a:ext uri="{FF2B5EF4-FFF2-40B4-BE49-F238E27FC236}">
                <a16:creationId xmlns:a16="http://schemas.microsoft.com/office/drawing/2014/main" id="{AA7615D1-AB69-6629-41AB-7978F820831E}"/>
              </a:ext>
            </a:extLst>
          </p:cNvPr>
          <p:cNvSpPr/>
          <p:nvPr userDrawn="1"/>
        </p:nvSpPr>
        <p:spPr>
          <a:xfrm rot="5400000">
            <a:off x="7875067" y="5116786"/>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117E7812-A603-C08C-173B-82B99CEA843B}"/>
              </a:ext>
            </a:extLst>
          </p:cNvPr>
          <p:cNvSpPr txBox="1"/>
          <p:nvPr userDrawn="1"/>
        </p:nvSpPr>
        <p:spPr>
          <a:xfrm>
            <a:off x="9466522" y="5769676"/>
            <a:ext cx="1706520" cy="35330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Digital Business Process Design</a:t>
            </a:r>
          </a:p>
        </p:txBody>
      </p:sp>
      <p:sp>
        <p:nvSpPr>
          <p:cNvPr id="33" name="Hexagon 32">
            <a:extLst>
              <a:ext uri="{FF2B5EF4-FFF2-40B4-BE49-F238E27FC236}">
                <a16:creationId xmlns:a16="http://schemas.microsoft.com/office/drawing/2014/main" id="{D164A15C-889E-DADD-7652-80F7031C20B9}"/>
              </a:ext>
            </a:extLst>
          </p:cNvPr>
          <p:cNvSpPr/>
          <p:nvPr userDrawn="1"/>
        </p:nvSpPr>
        <p:spPr>
          <a:xfrm rot="5400000">
            <a:off x="10001566" y="5116787"/>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4" name="Graphic 33">
            <a:extLst>
              <a:ext uri="{FF2B5EF4-FFF2-40B4-BE49-F238E27FC236}">
                <a16:creationId xmlns:a16="http://schemas.microsoft.com/office/drawing/2014/main" id="{DFD5920A-ABD2-D9C3-6CE0-C8148CD37576}"/>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10196482" y="5239212"/>
            <a:ext cx="243840" cy="243840"/>
          </a:xfrm>
          <a:prstGeom prst="rect">
            <a:avLst/>
          </a:prstGeom>
        </p:spPr>
      </p:pic>
      <p:pic>
        <p:nvPicPr>
          <p:cNvPr id="35" name="Graphic 34">
            <a:extLst>
              <a:ext uri="{FF2B5EF4-FFF2-40B4-BE49-F238E27FC236}">
                <a16:creationId xmlns:a16="http://schemas.microsoft.com/office/drawing/2014/main" id="{43A54C89-9A8D-6D54-0FC1-B762B70AE9CE}"/>
              </a:ext>
            </a:extLst>
          </p:cNvPr>
          <p:cNvPicPr>
            <a:picLocks noChangeAspect="1"/>
          </p:cNvPicPr>
          <p:nvPr userDrawn="1"/>
        </p:nvPicPr>
        <p:blipFill>
          <a:blip>
            <a:extLst>
              <a:ext uri="{96DAC541-7B7A-43D3-8B79-37D633B846F1}">
                <asvg:svgBlip xmlns:asvg="http://schemas.microsoft.com/office/drawing/2016/SVG/main" r:embed="rId7"/>
              </a:ext>
            </a:extLst>
          </a:blip>
          <a:stretch>
            <a:fillRect/>
          </a:stretch>
        </p:blipFill>
        <p:spPr>
          <a:xfrm>
            <a:off x="6170783" y="5251584"/>
            <a:ext cx="304800" cy="243840"/>
          </a:xfrm>
          <a:prstGeom prst="rect">
            <a:avLst/>
          </a:prstGeom>
        </p:spPr>
      </p:pic>
      <p:pic>
        <p:nvPicPr>
          <p:cNvPr id="36" name="Graphic 35">
            <a:extLst>
              <a:ext uri="{FF2B5EF4-FFF2-40B4-BE49-F238E27FC236}">
                <a16:creationId xmlns:a16="http://schemas.microsoft.com/office/drawing/2014/main" id="{58D14F9C-1254-6E41-BACE-17F9FF8058F3}"/>
              </a:ext>
            </a:extLst>
          </p:cNvPr>
          <p:cNvPicPr>
            <a:picLocks noChangeAspect="1"/>
          </p:cNvPicPr>
          <p:nvPr userDrawn="1"/>
        </p:nvPicPr>
        <p:blipFill>
          <a:blip>
            <a:extLst>
              <a:ext uri="{96DAC541-7B7A-43D3-8B79-37D633B846F1}">
                <asvg:svgBlip xmlns:asvg="http://schemas.microsoft.com/office/drawing/2016/SVG/main" r:embed="rId8"/>
              </a:ext>
            </a:extLst>
          </a:blip>
          <a:stretch>
            <a:fillRect/>
          </a:stretch>
        </p:blipFill>
        <p:spPr>
          <a:xfrm>
            <a:off x="4270788" y="5255663"/>
            <a:ext cx="213360" cy="243840"/>
          </a:xfrm>
          <a:prstGeom prst="rect">
            <a:avLst/>
          </a:prstGeom>
        </p:spPr>
      </p:pic>
      <p:pic>
        <p:nvPicPr>
          <p:cNvPr id="37" name="Graphic 36">
            <a:extLst>
              <a:ext uri="{FF2B5EF4-FFF2-40B4-BE49-F238E27FC236}">
                <a16:creationId xmlns:a16="http://schemas.microsoft.com/office/drawing/2014/main" id="{E082DF51-7E48-0E4C-5ED1-DFFA105673E9}"/>
              </a:ext>
            </a:extLst>
          </p:cNvPr>
          <p:cNvPicPr>
            <a:picLocks noChangeAspect="1"/>
          </p:cNvPicPr>
          <p:nvPr userDrawn="1"/>
        </p:nvPicPr>
        <p:blipFill>
          <a:blip>
            <a:extLst>
              <a:ext uri="{96DAC541-7B7A-43D3-8B79-37D633B846F1}">
                <asvg:svgBlip xmlns:asvg="http://schemas.microsoft.com/office/drawing/2016/SVG/main" r:embed="rId9"/>
              </a:ext>
            </a:extLst>
          </a:blip>
          <a:stretch>
            <a:fillRect/>
          </a:stretch>
        </p:blipFill>
        <p:spPr>
          <a:xfrm>
            <a:off x="6196271" y="3592142"/>
            <a:ext cx="213360" cy="243840"/>
          </a:xfrm>
          <a:prstGeom prst="rect">
            <a:avLst/>
          </a:prstGeom>
        </p:spPr>
      </p:pic>
      <p:pic>
        <p:nvPicPr>
          <p:cNvPr id="38" name="Graphic 37">
            <a:extLst>
              <a:ext uri="{FF2B5EF4-FFF2-40B4-BE49-F238E27FC236}">
                <a16:creationId xmlns:a16="http://schemas.microsoft.com/office/drawing/2014/main" id="{6C8979CC-B54F-A801-0321-A8A1FDE7224E}"/>
              </a:ext>
            </a:extLst>
          </p:cNvPr>
          <p:cNvPicPr>
            <a:picLocks noChangeAspect="1"/>
          </p:cNvPicPr>
          <p:nvPr userDrawn="1"/>
        </p:nvPicPr>
        <p:blipFill>
          <a:blip>
            <a:extLst>
              <a:ext uri="{96DAC541-7B7A-43D3-8B79-37D633B846F1}">
                <asvg:svgBlip xmlns:asvg="http://schemas.microsoft.com/office/drawing/2016/SVG/main" r:embed="rId10"/>
              </a:ext>
            </a:extLst>
          </a:blip>
          <a:stretch>
            <a:fillRect/>
          </a:stretch>
        </p:blipFill>
        <p:spPr>
          <a:xfrm>
            <a:off x="8000293" y="5249103"/>
            <a:ext cx="243840" cy="243840"/>
          </a:xfrm>
          <a:prstGeom prst="rect">
            <a:avLst/>
          </a:prstGeom>
        </p:spPr>
      </p:pic>
      <p:sp>
        <p:nvSpPr>
          <p:cNvPr id="39" name="TextBox 38">
            <a:extLst>
              <a:ext uri="{FF2B5EF4-FFF2-40B4-BE49-F238E27FC236}">
                <a16:creationId xmlns:a16="http://schemas.microsoft.com/office/drawing/2014/main" id="{EECEA419-1332-CE18-B296-B17237AD06C6}"/>
              </a:ext>
            </a:extLst>
          </p:cNvPr>
          <p:cNvSpPr txBox="1"/>
          <p:nvPr userDrawn="1"/>
        </p:nvSpPr>
        <p:spPr>
          <a:xfrm>
            <a:off x="669268" y="742174"/>
            <a:ext cx="2164224" cy="596510"/>
          </a:xfrm>
          <a:prstGeom prst="rect">
            <a:avLst/>
          </a:prstGeom>
          <a:noFill/>
        </p:spPr>
        <p:txBody>
          <a:bodyPr wrap="square" lIns="0" tIns="0" rIns="0" bIns="0" rtlCol="0">
            <a:spAutoFit/>
          </a:bodyPr>
          <a:lstStyle/>
          <a:p>
            <a:pPr>
              <a:lnSpc>
                <a:spcPct val="80000"/>
              </a:lnSpc>
            </a:pPr>
            <a:r>
              <a:rPr lang="en-US" sz="2400" b="1" cap="all">
                <a:latin typeface="Open Sans" panose="020B0606030504020204" pitchFamily="34" charset="0"/>
                <a:ea typeface="Open Sans" panose="020B0606030504020204" pitchFamily="34" charset="0"/>
                <a:cs typeface="Open Sans" panose="020B0606030504020204" pitchFamily="34" charset="0"/>
              </a:rPr>
              <a:t>program structure</a:t>
            </a:r>
          </a:p>
        </p:txBody>
      </p:sp>
      <p:cxnSp>
        <p:nvCxnSpPr>
          <p:cNvPr id="40" name="Straight Connector 39">
            <a:extLst>
              <a:ext uri="{FF2B5EF4-FFF2-40B4-BE49-F238E27FC236}">
                <a16:creationId xmlns:a16="http://schemas.microsoft.com/office/drawing/2014/main" id="{800C386E-4A2F-9C1B-B4BC-6E291773B32D}"/>
              </a:ext>
            </a:extLst>
          </p:cNvPr>
          <p:cNvCxnSpPr>
            <a:cxnSpLocks/>
          </p:cNvCxnSpPr>
          <p:nvPr userDrawn="1"/>
        </p:nvCxnSpPr>
        <p:spPr>
          <a:xfrm>
            <a:off x="6323183" y="1066128"/>
            <a:ext cx="0" cy="435985"/>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2F4E4344-6F1A-32E9-0BF4-E9E0D8779680}"/>
              </a:ext>
            </a:extLst>
          </p:cNvPr>
          <p:cNvSpPr txBox="1"/>
          <p:nvPr userDrawn="1"/>
        </p:nvSpPr>
        <p:spPr>
          <a:xfrm>
            <a:off x="4905393" y="410030"/>
            <a:ext cx="2808570" cy="52565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Provost/Executive Vice President </a:t>
            </a:r>
            <a:b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 Vice President for Finance and Administration</a:t>
            </a:r>
          </a:p>
        </p:txBody>
      </p:sp>
      <p:sp>
        <p:nvSpPr>
          <p:cNvPr id="42" name="Parallelogram 41">
            <a:extLst>
              <a:ext uri="{FF2B5EF4-FFF2-40B4-BE49-F238E27FC236}">
                <a16:creationId xmlns:a16="http://schemas.microsoft.com/office/drawing/2014/main" id="{0145AAA7-8B96-62F5-FAEE-AD8D83F6DEE7}"/>
              </a:ext>
            </a:extLst>
          </p:cNvPr>
          <p:cNvSpPr/>
          <p:nvPr userDrawn="1"/>
        </p:nvSpPr>
        <p:spPr>
          <a:xfrm>
            <a:off x="617342" y="1910225"/>
            <a:ext cx="2156605" cy="174786"/>
          </a:xfrm>
          <a:prstGeom prst="parallelogram">
            <a:avLst>
              <a:gd name="adj" fmla="val 52423"/>
            </a:avLst>
          </a:prstGeom>
          <a:solidFill>
            <a:srgbClr val="D73F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38307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potlight mess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974034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31FF02-85F9-4EDB-90A1-C93F19554F4B}"/>
              </a:ext>
            </a:extLst>
          </p:cNvPr>
          <p:cNvPicPr>
            <a:picLocks noChangeArrowheads="1"/>
          </p:cNvPicPr>
          <p:nvPr userDrawn="1"/>
        </p:nvPicPr>
        <p:blipFill rotWithShape="1">
          <a:blip r:embed="rId2" cstate="print">
            <a:extLst>
              <a:ext uri="{28A0092B-C50C-407E-A947-70E740481C1C}">
                <a14:useLocalDpi xmlns:a14="http://schemas.microsoft.com/office/drawing/2010/main" val="0"/>
              </a:ext>
            </a:extLst>
          </a:blip>
          <a:srcRect l="12863" t="1217" r="47758" b="12236"/>
          <a:stretch/>
        </p:blipFill>
        <p:spPr bwMode="auto">
          <a:xfrm>
            <a:off x="7494104" y="0"/>
            <a:ext cx="469789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1F3E92B-6C22-4F3A-B205-78435F87F69B}"/>
              </a:ext>
            </a:extLst>
          </p:cNvPr>
          <p:cNvSpPr/>
          <p:nvPr userDrawn="1"/>
        </p:nvSpPr>
        <p:spPr bwMode="gray">
          <a:xfrm>
            <a:off x="7420131" y="0"/>
            <a:ext cx="98947" cy="6858000"/>
          </a:xfrm>
          <a:prstGeom prst="rect">
            <a:avLst/>
          </a:prstGeom>
          <a:solidFill>
            <a:srgbClr val="FF820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rgbClr val="0E2B58"/>
              </a:solidFill>
            </a:endParaRPr>
          </a:p>
        </p:txBody>
      </p:sp>
      <p:sp>
        <p:nvSpPr>
          <p:cNvPr id="6" name="Title Placeholder 1">
            <a:extLst>
              <a:ext uri="{FF2B5EF4-FFF2-40B4-BE49-F238E27FC236}">
                <a16:creationId xmlns:a16="http://schemas.microsoft.com/office/drawing/2014/main" id="{07E50FF7-54EF-4648-B530-A1DE6E77DAB0}"/>
              </a:ext>
            </a:extLst>
          </p:cNvPr>
          <p:cNvSpPr>
            <a:spLocks noGrp="1"/>
          </p:cNvSpPr>
          <p:nvPr>
            <p:ph type="title"/>
          </p:nvPr>
        </p:nvSpPr>
        <p:spPr>
          <a:xfrm>
            <a:off x="469900" y="336318"/>
            <a:ext cx="6583680" cy="403911"/>
          </a:xfrm>
          <a:prstGeom prst="rect">
            <a:avLst/>
          </a:prstGeom>
        </p:spPr>
        <p:txBody>
          <a:bodyPr vert="horz" lIns="0" tIns="45720" rIns="91440" bIns="0" rtlCol="0" anchor="t" anchorCtr="0">
            <a:noAutofit/>
          </a:bodyPr>
          <a:lstStyle>
            <a:lvl1pPr>
              <a:defRPr sz="2400" b="1">
                <a:solidFill>
                  <a:srgbClr val="57585B"/>
                </a:solidFill>
                <a:latin typeface="+mn-lt"/>
              </a:defRPr>
            </a:lvl1pPr>
          </a:lstStyle>
          <a:p>
            <a:r>
              <a:rPr lang="en-US"/>
              <a:t>Click To Edit Master Title</a:t>
            </a:r>
          </a:p>
        </p:txBody>
      </p:sp>
    </p:spTree>
    <p:extLst>
      <p:ext uri="{BB962C8B-B14F-4D97-AF65-F5344CB8AC3E}">
        <p14:creationId xmlns:p14="http://schemas.microsoft.com/office/powerpoint/2010/main" val="2020589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Break 1">
    <p:bg>
      <p:bgPr>
        <a:blipFill dpi="0" rotWithShape="1">
          <a:blip r:embed="rId2">
            <a:lum/>
          </a:blip>
          <a:srcRect/>
          <a:stretch>
            <a:fillRect l="-18000" r="-18000"/>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C7872B-D8AE-6054-7154-39DBC51198DE}"/>
              </a:ext>
            </a:extLst>
          </p:cNvPr>
          <p:cNvPicPr>
            <a:picLocks noChangeAspect="1"/>
          </p:cNvPicPr>
          <p:nvPr userDrawn="1"/>
        </p:nvPicPr>
        <p:blipFill>
          <a:blip r:embed="rId3"/>
          <a:stretch>
            <a:fillRect/>
          </a:stretch>
        </p:blipFill>
        <p:spPr>
          <a:xfrm>
            <a:off x="0" y="0"/>
            <a:ext cx="12204640" cy="6858000"/>
          </a:xfrm>
          <a:prstGeom prst="rect">
            <a:avLst/>
          </a:prstGeom>
        </p:spPr>
      </p:pic>
      <p:sp>
        <p:nvSpPr>
          <p:cNvPr id="4" name="Rectangle 3">
            <a:extLst>
              <a:ext uri="{FF2B5EF4-FFF2-40B4-BE49-F238E27FC236}">
                <a16:creationId xmlns:a16="http://schemas.microsoft.com/office/drawing/2014/main" id="{4EEDB3D1-650C-4E73-8981-5CBEF56C27A2}"/>
              </a:ext>
            </a:extLst>
          </p:cNvPr>
          <p:cNvSpPr/>
          <p:nvPr userDrawn="1"/>
        </p:nvSpPr>
        <p:spPr bwMode="gray">
          <a:xfrm>
            <a:off x="0" y="2018581"/>
            <a:ext cx="10888133" cy="2971496"/>
          </a:xfrm>
          <a:prstGeom prst="rect">
            <a:avLst/>
          </a:prstGeom>
          <a:solidFill>
            <a:schemeClr val="bg1">
              <a:alpha val="6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7D15E517-EF07-46CB-BF12-7A1AE9A73534}"/>
              </a:ext>
            </a:extLst>
          </p:cNvPr>
          <p:cNvSpPr>
            <a:spLocks noGrp="1"/>
          </p:cNvSpPr>
          <p:nvPr>
            <p:ph type="title"/>
          </p:nvPr>
        </p:nvSpPr>
        <p:spPr bwMode="gray">
          <a:xfrm>
            <a:off x="469900" y="2018581"/>
            <a:ext cx="10418233" cy="2971496"/>
          </a:xfrm>
          <a:prstGeom prst="rect">
            <a:avLst/>
          </a:prstGeom>
        </p:spPr>
        <p:txBody>
          <a:bodyPr anchor="ctr"/>
          <a:lstStyle>
            <a:lvl1pPr>
              <a:lnSpc>
                <a:spcPct val="95000"/>
              </a:lnSpc>
              <a:defRPr sz="3200" b="1">
                <a:solidFill>
                  <a:schemeClr val="tx1"/>
                </a:solidFill>
                <a:latin typeface="+mn-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6864728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Encode Sans Normal Black" charset="0"/>
                <a:ea typeface="Encode Sans Normal Black" charset="0"/>
                <a:cs typeface="Encode Sans Normal Black" charset="0"/>
              </a:defRPr>
            </a:lvl1pPr>
          </a:lstStyle>
          <a:p>
            <a:pPr lvl="0"/>
            <a:r>
              <a:rPr lang="en-US"/>
              <a:t>HEADER HERE </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7" y="1167886"/>
            <a:ext cx="1930400" cy="60959"/>
          </a:xfrm>
          <a:prstGeom prst="rect">
            <a:avLst/>
          </a:prstGeom>
          <a:solidFill>
            <a:srgbClr val="DF552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ext Placeholder 9">
            <a:extLst>
              <a:ext uri="{FF2B5EF4-FFF2-40B4-BE49-F238E27FC236}">
                <a16:creationId xmlns:a16="http://schemas.microsoft.com/office/drawing/2014/main" id="{C69B79A5-01C0-2DE2-D678-36FB8F6BC55F}"/>
              </a:ext>
            </a:extLst>
          </p:cNvPr>
          <p:cNvSpPr>
            <a:spLocks noGrp="1"/>
          </p:cNvSpPr>
          <p:nvPr>
            <p:ph type="body" sz="quarter" idx="11" hasCustomPrompt="1"/>
          </p:nvPr>
        </p:nvSpPr>
        <p:spPr>
          <a:xfrm>
            <a:off x="580628" y="2185182"/>
            <a:ext cx="10929485" cy="3504933"/>
          </a:xfrm>
          <a:prstGeom prst="rect">
            <a:avLst/>
          </a:prstGeom>
        </p:spPr>
        <p:txBody>
          <a:bodyPr/>
          <a:lstStyle>
            <a:lvl1pPr marL="457189" indent="-457189">
              <a:buFont typeface="Arial" panose="020B0604020202020204" pitchFamily="34" charset="0"/>
              <a:buChar char="•"/>
              <a:defRPr sz="1867" b="0"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7" name="Text Placeholder 9">
            <a:extLst>
              <a:ext uri="{FF2B5EF4-FFF2-40B4-BE49-F238E27FC236}">
                <a16:creationId xmlns:a16="http://schemas.microsoft.com/office/drawing/2014/main" id="{D32089CD-A78B-4DF6-6971-3AC602015428}"/>
              </a:ext>
            </a:extLst>
          </p:cNvPr>
          <p:cNvSpPr>
            <a:spLocks noGrp="1"/>
          </p:cNvSpPr>
          <p:nvPr>
            <p:ph type="body" sz="quarter" idx="12" hasCustomPrompt="1"/>
          </p:nvPr>
        </p:nvSpPr>
        <p:spPr>
          <a:xfrm>
            <a:off x="580628" y="1382541"/>
            <a:ext cx="10929485" cy="761136"/>
          </a:xfrm>
          <a:prstGeom prst="rect">
            <a:avLst/>
          </a:prstGeom>
        </p:spPr>
        <p:txBody>
          <a:bodyPr/>
          <a:lstStyle>
            <a:lvl1pPr marL="0" indent="0">
              <a:buFont typeface="Arial" panose="020B0604020202020204" pitchFamily="34" charset="0"/>
              <a:buNone/>
              <a:defRPr sz="1867"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4476469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4180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11537450" cy="685800"/>
          </a:xfrm>
          <a:prstGeom prst="rect">
            <a:avLst/>
          </a:prstGeom>
        </p:spPr>
        <p:txBody>
          <a:bodyPr anchor="t"/>
          <a:lstStyle>
            <a:lvl1pPr>
              <a:lnSpc>
                <a:spcPct val="100000"/>
              </a:lnSpc>
              <a:defRPr sz="3600" b="1" i="0">
                <a:latin typeface="Stratum2 Bold" panose="020B0506030000020004" pitchFamily="34" charset="77"/>
              </a:defRPr>
            </a:lvl1pPr>
          </a:lstStyle>
          <a:p>
            <a:r>
              <a:rPr lang="en-US">
                <a:latin typeface="Stratum2 Regular" panose="020B0506030000020004" pitchFamily="34" charset="77"/>
              </a:rPr>
              <a:t>Title Only</a:t>
            </a:r>
          </a:p>
        </p:txBody>
      </p:sp>
    </p:spTree>
    <p:extLst>
      <p:ext uri="{BB962C8B-B14F-4D97-AF65-F5344CB8AC3E}">
        <p14:creationId xmlns:p14="http://schemas.microsoft.com/office/powerpoint/2010/main" val="3669876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Righ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114800" y="406403"/>
            <a:ext cx="5943600"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Right</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114800" y="1842448"/>
            <a:ext cx="6210300" cy="4710752"/>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3" name="Rectangle 2">
            <a:extLst>
              <a:ext uri="{FF2B5EF4-FFF2-40B4-BE49-F238E27FC236}">
                <a16:creationId xmlns:a16="http://schemas.microsoft.com/office/drawing/2014/main" id="{86D953B5-0B21-87B2-256D-FF1271EE9E8E}"/>
              </a:ext>
            </a:extLst>
          </p:cNvPr>
          <p:cNvSpPr/>
          <p:nvPr/>
        </p:nvSpPr>
        <p:spPr>
          <a:xfrm>
            <a:off x="4114800" y="1186716"/>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0644466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a:extLst>
                <a:ext uri="{96DAC541-7B7A-43D3-8B79-37D633B846F1}">
                  <asvg:svgBlip xmlns:asvg="http://schemas.microsoft.com/office/drawing/2016/SVG/main" r:embed="rId2"/>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75975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Left</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68156" y="1591122"/>
            <a:ext cx="7556643" cy="5038278"/>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3138606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474237" y="658628"/>
            <a:ext cx="9879563" cy="49492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Oval 5"/>
          <p:cNvSpPr/>
          <p:nvPr userDrawn="1"/>
        </p:nvSpPr>
        <p:spPr>
          <a:xfrm>
            <a:off x="697384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Oval 8"/>
          <p:cNvSpPr/>
          <p:nvPr userDrawn="1"/>
        </p:nvSpPr>
        <p:spPr>
          <a:xfrm>
            <a:off x="157416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Oval 9"/>
          <p:cNvSpPr/>
          <p:nvPr userDrawn="1"/>
        </p:nvSpPr>
        <p:spPr>
          <a:xfrm>
            <a:off x="4274009" y="2195519"/>
            <a:ext cx="3318691" cy="3318690"/>
          </a:xfrm>
          <a:prstGeom prst="ellipse">
            <a:avLst/>
          </a:prstGeom>
          <a:noFill/>
          <a:ln w="50800">
            <a:solidFill>
              <a:srgbClr val="B3B3B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1" name="Text Placeholder 4"/>
          <p:cNvSpPr>
            <a:spLocks noGrp="1"/>
          </p:cNvSpPr>
          <p:nvPr>
            <p:ph type="body" sz="quarter" idx="11"/>
          </p:nvPr>
        </p:nvSpPr>
        <p:spPr>
          <a:xfrm>
            <a:off x="4274009" y="2216577"/>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5" name="Text Placeholder 4"/>
          <p:cNvSpPr>
            <a:spLocks noGrp="1"/>
          </p:cNvSpPr>
          <p:nvPr>
            <p:ph type="body" sz="quarter" idx="10"/>
          </p:nvPr>
        </p:nvSpPr>
        <p:spPr>
          <a:xfrm>
            <a:off x="1574169" y="2222100"/>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12" name="Text Placeholder 4"/>
          <p:cNvSpPr>
            <a:spLocks noGrp="1"/>
          </p:cNvSpPr>
          <p:nvPr>
            <p:ph type="body" sz="quarter" idx="12"/>
          </p:nvPr>
        </p:nvSpPr>
        <p:spPr>
          <a:xfrm>
            <a:off x="6973849" y="2216681"/>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Tree>
    <p:extLst>
      <p:ext uri="{BB962C8B-B14F-4D97-AF65-F5344CB8AC3E}">
        <p14:creationId xmlns:p14="http://schemas.microsoft.com/office/powerpoint/2010/main" val="418513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Background, V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892B0D8-1B86-802D-168B-D238A5D108E3}"/>
              </a:ext>
            </a:extLst>
          </p:cNvPr>
          <p:cNvPicPr>
            <a:picLocks noChangeAspect="1"/>
          </p:cNvPicPr>
          <p:nvPr/>
        </p:nvPicPr>
        <p:blipFill>
          <a:blip r:embed="rId2"/>
          <a:srcRect t="70" b="70"/>
          <a:stretch/>
        </p:blipFill>
        <p:spPr>
          <a:xfrm>
            <a:off x="0" y="13252"/>
            <a:ext cx="12209053" cy="6858000"/>
          </a:xfrm>
          <a:prstGeom prst="rect">
            <a:avLst/>
          </a:prstGeom>
        </p:spPr>
      </p:pic>
      <p:pic>
        <p:nvPicPr>
          <p:cNvPr id="11" name="Picture 10">
            <a:extLst>
              <a:ext uri="{FF2B5EF4-FFF2-40B4-BE49-F238E27FC236}">
                <a16:creationId xmlns:a16="http://schemas.microsoft.com/office/drawing/2014/main" id="{C1950772-1215-B63C-751E-8C09AABF03F2}"/>
              </a:ext>
            </a:extLst>
          </p:cNvPr>
          <p:cNvPicPr>
            <a:picLocks noChangeAspect="1"/>
          </p:cNvPicPr>
          <p:nvPr/>
        </p:nvPicPr>
        <p:blipFill>
          <a:blip r:embed="rId2"/>
          <a:srcRect t="70" b="70"/>
          <a:stretch/>
        </p:blipFill>
        <p:spPr>
          <a:xfrm>
            <a:off x="0" y="13252"/>
            <a:ext cx="12209053" cy="6858000"/>
          </a:xfrm>
          <a:prstGeom prst="rect">
            <a:avLst/>
          </a:prstGeom>
        </p:spPr>
      </p:pic>
      <p:sp>
        <p:nvSpPr>
          <p:cNvPr id="12" name="Rectangle 11">
            <a:extLst>
              <a:ext uri="{FF2B5EF4-FFF2-40B4-BE49-F238E27FC236}">
                <a16:creationId xmlns:a16="http://schemas.microsoft.com/office/drawing/2014/main" id="{938E3CBB-A7DF-4B01-7834-43E8D1B5BBDE}"/>
              </a:ext>
            </a:extLst>
          </p:cNvPr>
          <p:cNvSpPr/>
          <p:nvPr/>
        </p:nvSpPr>
        <p:spPr>
          <a:xfrm>
            <a:off x="0" y="13252"/>
            <a:ext cx="12226107" cy="68580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Rectangle 14">
            <a:extLst>
              <a:ext uri="{FF2B5EF4-FFF2-40B4-BE49-F238E27FC236}">
                <a16:creationId xmlns:a16="http://schemas.microsoft.com/office/drawing/2014/main" id="{4A2DD181-E3F7-5458-9BF5-6086F433EBB6}"/>
              </a:ext>
            </a:extLst>
          </p:cNvPr>
          <p:cNvSpPr/>
          <p:nvPr/>
        </p:nvSpPr>
        <p:spPr>
          <a:xfrm>
            <a:off x="790222" y="4630408"/>
            <a:ext cx="2867377" cy="79021"/>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7" name="Rectangle 16">
            <a:extLst>
              <a:ext uri="{FF2B5EF4-FFF2-40B4-BE49-F238E27FC236}">
                <a16:creationId xmlns:a16="http://schemas.microsoft.com/office/drawing/2014/main" id="{F66873F5-67A2-60D6-FD5F-45D4F3C0E4A7}"/>
              </a:ext>
            </a:extLst>
          </p:cNvPr>
          <p:cNvSpPr/>
          <p:nvPr/>
        </p:nvSpPr>
        <p:spPr>
          <a:xfrm>
            <a:off x="-8528" y="19878"/>
            <a:ext cx="12226107" cy="6858000"/>
          </a:xfrm>
          <a:prstGeom prst="rect">
            <a:avLst/>
          </a:prstGeom>
          <a:solidFill>
            <a:schemeClr val="bg1">
              <a:lumMod val="75000"/>
              <a:alpha val="31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 name="Slide Number Placeholder 4">
            <a:extLst>
              <a:ext uri="{FF2B5EF4-FFF2-40B4-BE49-F238E27FC236}">
                <a16:creationId xmlns:a16="http://schemas.microsoft.com/office/drawing/2014/main" id="{0D29F9DE-D4FF-A282-FBC2-3CF06DBA028A}"/>
              </a:ext>
            </a:extLst>
          </p:cNvPr>
          <p:cNvSpPr>
            <a:spLocks noGrp="1"/>
          </p:cNvSpPr>
          <p:nvPr>
            <p:ph type="sldNum" sz="quarter" idx="10"/>
          </p:nvPr>
        </p:nvSpPr>
        <p:spPr>
          <a:xfrm>
            <a:off x="0" y="6505070"/>
            <a:ext cx="889000" cy="366183"/>
          </a:xfrm>
          <a:prstGeom prst="rect">
            <a:avLst/>
          </a:prstGeom>
        </p:spPr>
        <p:txBody>
          <a:bodyPr/>
          <a:lstStyle>
            <a:lvl1pPr>
              <a:defRPr sz="1600">
                <a:latin typeface="Kievit Offc Medium" panose="020B0604030101020102" pitchFamily="34" charset="77"/>
              </a:defRPr>
            </a:lvl1pPr>
          </a:lstStyle>
          <a:p>
            <a:fld id="{DECCF862-B159-4D9F-8ABB-8BFD80BE70A5}" type="slidenum">
              <a:rPr lang="en-US" smtClean="0"/>
              <a:t>‹#›</a:t>
            </a:fld>
            <a:endParaRPr lang="en-US"/>
          </a:p>
        </p:txBody>
      </p:sp>
      <p:sp>
        <p:nvSpPr>
          <p:cNvPr id="14" name="Title 1">
            <a:extLst>
              <a:ext uri="{FF2B5EF4-FFF2-40B4-BE49-F238E27FC236}">
                <a16:creationId xmlns:a16="http://schemas.microsoft.com/office/drawing/2014/main" id="{DAFA218B-A59E-DD11-3A7B-7D3E934CFDCC}"/>
              </a:ext>
            </a:extLst>
          </p:cNvPr>
          <p:cNvSpPr>
            <a:spLocks noGrp="1"/>
          </p:cNvSpPr>
          <p:nvPr>
            <p:ph type="title" hasCustomPrompt="1"/>
          </p:nvPr>
        </p:nvSpPr>
        <p:spPr>
          <a:xfrm>
            <a:off x="613833" y="873243"/>
            <a:ext cx="9364720" cy="3522341"/>
          </a:xfrm>
          <a:prstGeom prst="rect">
            <a:avLst/>
          </a:prstGeom>
        </p:spPr>
        <p:txBody>
          <a:bodyPr anchor="b"/>
          <a:lstStyle>
            <a:lvl1pPr algn="l">
              <a:defRPr sz="44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Title Background, V1</a:t>
            </a:r>
          </a:p>
        </p:txBody>
      </p:sp>
      <p:sp>
        <p:nvSpPr>
          <p:cNvPr id="18" name="Rectangle 17">
            <a:extLst>
              <a:ext uri="{FF2B5EF4-FFF2-40B4-BE49-F238E27FC236}">
                <a16:creationId xmlns:a16="http://schemas.microsoft.com/office/drawing/2014/main" id="{C8CD19CF-E2D3-87EA-A5A0-3C50A4608FA0}"/>
              </a:ext>
            </a:extLst>
          </p:cNvPr>
          <p:cNvSpPr/>
          <p:nvPr/>
        </p:nvSpPr>
        <p:spPr>
          <a:xfrm>
            <a:off x="790222" y="4630408"/>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3095020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13FC5D3-9162-A5A8-D91D-0D9195D17B5D}"/>
              </a:ext>
            </a:extLst>
          </p:cNvPr>
          <p:cNvSpPr>
            <a:spLocks/>
          </p:cNvSpPr>
          <p:nvPr/>
        </p:nvSpPr>
        <p:spPr>
          <a:xfrm>
            <a:off x="0" y="36402"/>
            <a:ext cx="12192000" cy="6844748"/>
          </a:xfrm>
          <a:prstGeom prst="rect">
            <a:avLst/>
          </a:prstGeom>
          <a:blipFill>
            <a:blip r:embed="rId2"/>
            <a:srcRect/>
            <a:stretch>
              <a:fillRect l="-3933" r="-3933"/>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91900E2A-1631-CD6D-E86A-1B66FAF167BD}"/>
              </a:ext>
            </a:extLst>
          </p:cNvPr>
          <p:cNvSpPr>
            <a:spLocks noGrp="1"/>
          </p:cNvSpPr>
          <p:nvPr>
            <p:ph type="title" hasCustomPrompt="1"/>
          </p:nvPr>
        </p:nvSpPr>
        <p:spPr>
          <a:xfrm>
            <a:off x="327275" y="406404"/>
            <a:ext cx="7069776" cy="685800"/>
          </a:xfrm>
          <a:prstGeom prst="rect">
            <a:avLst/>
          </a:prstGeom>
        </p:spPr>
        <p:txBody>
          <a:bodyPr anchor="b"/>
          <a:lstStyle>
            <a:lvl1pPr algn="l">
              <a:defRPr sz="36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Section image</a:t>
            </a:r>
          </a:p>
        </p:txBody>
      </p:sp>
    </p:spTree>
    <p:extLst>
      <p:ext uri="{BB962C8B-B14F-4D97-AF65-F5344CB8AC3E}">
        <p14:creationId xmlns:p14="http://schemas.microsoft.com/office/powerpoint/2010/main" val="6967787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Agenda, V1">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2B92C49-C8F2-8787-572D-3A61D332DA0C}"/>
              </a:ext>
            </a:extLst>
          </p:cNvPr>
          <p:cNvPicPr>
            <a:picLocks noChangeAspect="1"/>
          </p:cNvPicPr>
          <p:nvPr/>
        </p:nvPicPr>
        <p:blipFill rotWithShape="1">
          <a:blip>
            <a:extLst>
              <a:ext uri="{96DAC541-7B7A-43D3-8B79-37D633B846F1}">
                <asvg:svgBlip xmlns:asvg="http://schemas.microsoft.com/office/drawing/2016/SVG/main" r:embed="rId2"/>
              </a:ext>
            </a:extLst>
          </a:blip>
          <a:srcRect l="25290"/>
          <a:stretch/>
        </p:blipFill>
        <p:spPr>
          <a:xfrm flipH="1">
            <a:off x="7114416" y="0"/>
            <a:ext cx="5077583" cy="6812098"/>
          </a:xfrm>
          <a:prstGeom prst="rect">
            <a:avLst/>
          </a:prstGeom>
        </p:spPr>
      </p:pic>
      <p:sp>
        <p:nvSpPr>
          <p:cNvPr id="28" name="Text Placeholder 27">
            <a:extLst>
              <a:ext uri="{FF2B5EF4-FFF2-40B4-BE49-F238E27FC236}">
                <a16:creationId xmlns:a16="http://schemas.microsoft.com/office/drawing/2014/main" id="{BE0A9F5E-2882-B083-10B1-929FAA7A04CC}"/>
              </a:ext>
            </a:extLst>
          </p:cNvPr>
          <p:cNvSpPr>
            <a:spLocks noGrp="1"/>
          </p:cNvSpPr>
          <p:nvPr>
            <p:ph type="body" sz="quarter" idx="10" hasCustomPrompt="1"/>
          </p:nvPr>
        </p:nvSpPr>
        <p:spPr>
          <a:xfrm>
            <a:off x="1989881" y="2058066"/>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1" name="Text Placeholder 30">
            <a:extLst>
              <a:ext uri="{FF2B5EF4-FFF2-40B4-BE49-F238E27FC236}">
                <a16:creationId xmlns:a16="http://schemas.microsoft.com/office/drawing/2014/main" id="{7CF38F53-2818-C171-DC2D-B05B5BEE912B}"/>
              </a:ext>
            </a:extLst>
          </p:cNvPr>
          <p:cNvSpPr>
            <a:spLocks noGrp="1"/>
          </p:cNvSpPr>
          <p:nvPr>
            <p:ph type="body" sz="quarter" idx="11" hasCustomPrompt="1"/>
          </p:nvPr>
        </p:nvSpPr>
        <p:spPr>
          <a:xfrm>
            <a:off x="3429000" y="2054076"/>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2" name="Text Placeholder 27">
            <a:extLst>
              <a:ext uri="{FF2B5EF4-FFF2-40B4-BE49-F238E27FC236}">
                <a16:creationId xmlns:a16="http://schemas.microsoft.com/office/drawing/2014/main" id="{B01A557C-FAA4-A633-CAB1-259CCFF5849D}"/>
              </a:ext>
            </a:extLst>
          </p:cNvPr>
          <p:cNvSpPr>
            <a:spLocks noGrp="1"/>
          </p:cNvSpPr>
          <p:nvPr>
            <p:ph type="body" sz="quarter" idx="12" hasCustomPrompt="1"/>
          </p:nvPr>
        </p:nvSpPr>
        <p:spPr>
          <a:xfrm>
            <a:off x="1989881" y="3095472"/>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3" name="Text Placeholder 30">
            <a:extLst>
              <a:ext uri="{FF2B5EF4-FFF2-40B4-BE49-F238E27FC236}">
                <a16:creationId xmlns:a16="http://schemas.microsoft.com/office/drawing/2014/main" id="{A16048BA-4184-5650-D1DD-E4B593105E94}"/>
              </a:ext>
            </a:extLst>
          </p:cNvPr>
          <p:cNvSpPr>
            <a:spLocks noGrp="1"/>
          </p:cNvSpPr>
          <p:nvPr>
            <p:ph type="body" sz="quarter" idx="13" hasCustomPrompt="1"/>
          </p:nvPr>
        </p:nvSpPr>
        <p:spPr>
          <a:xfrm>
            <a:off x="3429000" y="3091482"/>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4" name="Text Placeholder 27">
            <a:extLst>
              <a:ext uri="{FF2B5EF4-FFF2-40B4-BE49-F238E27FC236}">
                <a16:creationId xmlns:a16="http://schemas.microsoft.com/office/drawing/2014/main" id="{E6E26DA5-41BA-B57B-13B4-63BF3F5A7421}"/>
              </a:ext>
            </a:extLst>
          </p:cNvPr>
          <p:cNvSpPr>
            <a:spLocks noGrp="1"/>
          </p:cNvSpPr>
          <p:nvPr>
            <p:ph type="body" sz="quarter" idx="14" hasCustomPrompt="1"/>
          </p:nvPr>
        </p:nvSpPr>
        <p:spPr>
          <a:xfrm>
            <a:off x="1986568" y="4170879"/>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5" name="Text Placeholder 30">
            <a:extLst>
              <a:ext uri="{FF2B5EF4-FFF2-40B4-BE49-F238E27FC236}">
                <a16:creationId xmlns:a16="http://schemas.microsoft.com/office/drawing/2014/main" id="{DA242201-0989-1588-0382-8A0F924990BE}"/>
              </a:ext>
            </a:extLst>
          </p:cNvPr>
          <p:cNvSpPr>
            <a:spLocks noGrp="1"/>
          </p:cNvSpPr>
          <p:nvPr>
            <p:ph type="body" sz="quarter" idx="15" hasCustomPrompt="1"/>
          </p:nvPr>
        </p:nvSpPr>
        <p:spPr>
          <a:xfrm>
            <a:off x="3425687" y="4166889"/>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6" name="Text Placeholder 27">
            <a:extLst>
              <a:ext uri="{FF2B5EF4-FFF2-40B4-BE49-F238E27FC236}">
                <a16:creationId xmlns:a16="http://schemas.microsoft.com/office/drawing/2014/main" id="{71DA4C1F-E190-F62A-BAD8-82B5C0799682}"/>
              </a:ext>
            </a:extLst>
          </p:cNvPr>
          <p:cNvSpPr>
            <a:spLocks noGrp="1"/>
          </p:cNvSpPr>
          <p:nvPr>
            <p:ph type="body" sz="quarter" idx="16" hasCustomPrompt="1"/>
          </p:nvPr>
        </p:nvSpPr>
        <p:spPr>
          <a:xfrm>
            <a:off x="1986568" y="5233070"/>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7" name="Text Placeholder 30">
            <a:extLst>
              <a:ext uri="{FF2B5EF4-FFF2-40B4-BE49-F238E27FC236}">
                <a16:creationId xmlns:a16="http://schemas.microsoft.com/office/drawing/2014/main" id="{EE795D06-D1BC-50D0-B6DF-33DF5A9FCE81}"/>
              </a:ext>
            </a:extLst>
          </p:cNvPr>
          <p:cNvSpPr>
            <a:spLocks noGrp="1"/>
          </p:cNvSpPr>
          <p:nvPr>
            <p:ph type="body" sz="quarter" idx="17" hasCustomPrompt="1"/>
          </p:nvPr>
        </p:nvSpPr>
        <p:spPr>
          <a:xfrm>
            <a:off x="3425687" y="522908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8" name="Title 37">
            <a:extLst>
              <a:ext uri="{FF2B5EF4-FFF2-40B4-BE49-F238E27FC236}">
                <a16:creationId xmlns:a16="http://schemas.microsoft.com/office/drawing/2014/main" id="{98662D51-A00F-3C6A-D53B-20C7C24CDF96}"/>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1"/>
                </a:solidFill>
              </a:defRPr>
            </a:lvl1pPr>
          </a:lstStyle>
          <a:p>
            <a:r>
              <a:rPr lang="en-US"/>
              <a:t>AGENDA, V1</a:t>
            </a:r>
          </a:p>
        </p:txBody>
      </p:sp>
      <p:sp>
        <p:nvSpPr>
          <p:cNvPr id="40" name="Picture Placeholder 39">
            <a:extLst>
              <a:ext uri="{FF2B5EF4-FFF2-40B4-BE49-F238E27FC236}">
                <a16:creationId xmlns:a16="http://schemas.microsoft.com/office/drawing/2014/main" id="{683D0E14-58F9-E6B5-2B75-3BE720D09345}"/>
              </a:ext>
            </a:extLst>
          </p:cNvPr>
          <p:cNvSpPr>
            <a:spLocks noGrp="1"/>
          </p:cNvSpPr>
          <p:nvPr>
            <p:ph type="pic" sz="quarter" idx="18" hasCustomPrompt="1"/>
          </p:nvPr>
        </p:nvSpPr>
        <p:spPr>
          <a:xfrm>
            <a:off x="1219200" y="2054225"/>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4" name="Picture Placeholder 39">
            <a:extLst>
              <a:ext uri="{FF2B5EF4-FFF2-40B4-BE49-F238E27FC236}">
                <a16:creationId xmlns:a16="http://schemas.microsoft.com/office/drawing/2014/main" id="{3446FBA8-B9F9-29BA-60F1-C0C972B7F051}"/>
              </a:ext>
            </a:extLst>
          </p:cNvPr>
          <p:cNvSpPr>
            <a:spLocks noGrp="1"/>
          </p:cNvSpPr>
          <p:nvPr>
            <p:ph type="pic" sz="quarter" idx="19" hasCustomPrompt="1"/>
          </p:nvPr>
        </p:nvSpPr>
        <p:spPr>
          <a:xfrm>
            <a:off x="1215887" y="3091482"/>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5" name="Picture Placeholder 39">
            <a:extLst>
              <a:ext uri="{FF2B5EF4-FFF2-40B4-BE49-F238E27FC236}">
                <a16:creationId xmlns:a16="http://schemas.microsoft.com/office/drawing/2014/main" id="{69BC1D1B-1065-B1D2-6CB8-F3EBBBDB5EAD}"/>
              </a:ext>
            </a:extLst>
          </p:cNvPr>
          <p:cNvSpPr>
            <a:spLocks noGrp="1"/>
          </p:cNvSpPr>
          <p:nvPr>
            <p:ph type="pic" sz="quarter" idx="20" hasCustomPrompt="1"/>
          </p:nvPr>
        </p:nvSpPr>
        <p:spPr>
          <a:xfrm>
            <a:off x="1224568" y="4166889"/>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6" name="Picture Placeholder 39">
            <a:extLst>
              <a:ext uri="{FF2B5EF4-FFF2-40B4-BE49-F238E27FC236}">
                <a16:creationId xmlns:a16="http://schemas.microsoft.com/office/drawing/2014/main" id="{09A7F936-5816-2211-FB5B-699AC0687FEC}"/>
              </a:ext>
            </a:extLst>
          </p:cNvPr>
          <p:cNvSpPr>
            <a:spLocks noGrp="1"/>
          </p:cNvSpPr>
          <p:nvPr>
            <p:ph type="pic" sz="quarter" idx="21" hasCustomPrompt="1"/>
          </p:nvPr>
        </p:nvSpPr>
        <p:spPr>
          <a:xfrm>
            <a:off x="1224568" y="5236431"/>
            <a:ext cx="457200" cy="280988"/>
          </a:xfrm>
          <a:prstGeom prst="rect">
            <a:avLst/>
          </a:prstGeom>
        </p:spPr>
        <p:txBody>
          <a:bodyPr/>
          <a:lstStyle>
            <a:lvl1pPr marL="0" indent="0">
              <a:buNone/>
              <a:defRPr sz="1100">
                <a:solidFill>
                  <a:schemeClr val="tx1"/>
                </a:solidFill>
              </a:defRPr>
            </a:lvl1pPr>
          </a:lstStyle>
          <a:p>
            <a:r>
              <a:rPr lang="en-US"/>
              <a:t>Icon</a:t>
            </a:r>
          </a:p>
        </p:txBody>
      </p:sp>
    </p:spTree>
    <p:extLst>
      <p:ext uri="{BB962C8B-B14F-4D97-AF65-F5344CB8AC3E}">
        <p14:creationId xmlns:p14="http://schemas.microsoft.com/office/powerpoint/2010/main" val="335299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V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A8C4574-A8BF-3EEE-4A95-967FEB9793E8}"/>
              </a:ext>
            </a:extLst>
          </p:cNvPr>
          <p:cNvPicPr>
            <a:picLocks noChangeAspect="1"/>
          </p:cNvPicPr>
          <p:nvPr/>
        </p:nvPicPr>
        <p:blipFill rotWithShape="1">
          <a:blip>
            <a:extLst>
              <a:ext uri="{96DAC541-7B7A-43D3-8B79-37D633B846F1}">
                <asvg:svgBlip xmlns:asvg="http://schemas.microsoft.com/office/drawing/2016/SVG/main" r:embed="rId2"/>
              </a:ext>
            </a:extLst>
          </a:blip>
          <a:srcRect l="18025"/>
          <a:stretch/>
        </p:blipFill>
        <p:spPr>
          <a:xfrm flipH="1">
            <a:off x="6620718" y="0"/>
            <a:ext cx="5571281" cy="6812098"/>
          </a:xfrm>
          <a:prstGeom prst="rect">
            <a:avLst/>
          </a:prstGeom>
        </p:spPr>
      </p:pic>
      <p:sp>
        <p:nvSpPr>
          <p:cNvPr id="7" name="Freeform 6">
            <a:extLst>
              <a:ext uri="{FF2B5EF4-FFF2-40B4-BE49-F238E27FC236}">
                <a16:creationId xmlns:a16="http://schemas.microsoft.com/office/drawing/2014/main" id="{FA82388F-1FF7-F70C-0229-2958CE8FC522}"/>
              </a:ext>
            </a:extLst>
          </p:cNvPr>
          <p:cNvSpPr/>
          <p:nvPr/>
        </p:nvSpPr>
        <p:spPr>
          <a:xfrm>
            <a:off x="7105736" y="579472"/>
            <a:ext cx="5086264" cy="5649768"/>
          </a:xfrm>
          <a:custGeom>
            <a:avLst/>
            <a:gdLst>
              <a:gd name="connsiteX0" fmla="*/ 2824884 w 5086264"/>
              <a:gd name="connsiteY0" fmla="*/ 0 h 5649768"/>
              <a:gd name="connsiteX1" fmla="*/ 5004702 w 5086264"/>
              <a:gd name="connsiteY1" fmla="*/ 1027996 h 5649768"/>
              <a:gd name="connsiteX2" fmla="*/ 5086264 w 5086264"/>
              <a:gd name="connsiteY2" fmla="*/ 1137068 h 5649768"/>
              <a:gd name="connsiteX3" fmla="*/ 5086264 w 5086264"/>
              <a:gd name="connsiteY3" fmla="*/ 4512701 h 5649768"/>
              <a:gd name="connsiteX4" fmla="*/ 5004702 w 5086264"/>
              <a:gd name="connsiteY4" fmla="*/ 4621772 h 5649768"/>
              <a:gd name="connsiteX5" fmla="*/ 2824884 w 5086264"/>
              <a:gd name="connsiteY5" fmla="*/ 5649768 h 5649768"/>
              <a:gd name="connsiteX6" fmla="*/ 0 w 5086264"/>
              <a:gd name="connsiteY6" fmla="*/ 2824884 h 5649768"/>
              <a:gd name="connsiteX7" fmla="*/ 2824884 w 5086264"/>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264" h="5649768">
                <a:moveTo>
                  <a:pt x="2824884" y="0"/>
                </a:moveTo>
                <a:cubicBezTo>
                  <a:pt x="3702463" y="0"/>
                  <a:pt x="4486576" y="400173"/>
                  <a:pt x="5004702" y="1027996"/>
                </a:cubicBezTo>
                <a:lnTo>
                  <a:pt x="5086264" y="1137068"/>
                </a:lnTo>
                <a:lnTo>
                  <a:pt x="5086264" y="4512701"/>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E733D452-95CB-B317-1B3B-77B5FEC45459}"/>
              </a:ext>
            </a:extLst>
          </p:cNvPr>
          <p:cNvSpPr/>
          <p:nvPr/>
        </p:nvSpPr>
        <p:spPr>
          <a:xfrm>
            <a:off x="7114417" y="598632"/>
            <a:ext cx="5077583" cy="5649768"/>
          </a:xfrm>
          <a:custGeom>
            <a:avLst/>
            <a:gdLst>
              <a:gd name="connsiteX0" fmla="*/ 2824884 w 5077583"/>
              <a:gd name="connsiteY0" fmla="*/ 0 h 5649768"/>
              <a:gd name="connsiteX1" fmla="*/ 5004702 w 5077583"/>
              <a:gd name="connsiteY1" fmla="*/ 1027996 h 5649768"/>
              <a:gd name="connsiteX2" fmla="*/ 5077583 w 5077583"/>
              <a:gd name="connsiteY2" fmla="*/ 1125459 h 5649768"/>
              <a:gd name="connsiteX3" fmla="*/ 5077583 w 5077583"/>
              <a:gd name="connsiteY3" fmla="*/ 4524310 h 5649768"/>
              <a:gd name="connsiteX4" fmla="*/ 5004702 w 5077583"/>
              <a:gd name="connsiteY4" fmla="*/ 4621772 h 5649768"/>
              <a:gd name="connsiteX5" fmla="*/ 2824884 w 5077583"/>
              <a:gd name="connsiteY5" fmla="*/ 5649768 h 5649768"/>
              <a:gd name="connsiteX6" fmla="*/ 0 w 5077583"/>
              <a:gd name="connsiteY6" fmla="*/ 2824884 h 5649768"/>
              <a:gd name="connsiteX7" fmla="*/ 2824884 w 5077583"/>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7583" h="5649768">
                <a:moveTo>
                  <a:pt x="2824884" y="0"/>
                </a:moveTo>
                <a:cubicBezTo>
                  <a:pt x="3702463" y="0"/>
                  <a:pt x="4486576" y="400173"/>
                  <a:pt x="5004702" y="1027996"/>
                </a:cubicBezTo>
                <a:lnTo>
                  <a:pt x="5077583" y="1125459"/>
                </a:lnTo>
                <a:lnTo>
                  <a:pt x="5077583" y="4524310"/>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blipFill>
            <a:blip>
              <a:extLst>
                <a:ext uri="{96DAC541-7B7A-43D3-8B79-37D633B846F1}">
                  <asvg:svgBlip xmlns:asvg="http://schemas.microsoft.com/office/drawing/2016/SVG/main" r:embed="rId3"/>
                </a:ext>
              </a:extLst>
            </a:blip>
            <a:stretch>
              <a:fillRect l="-439" r="-439"/>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C7AD202E-DD1A-574E-A997-4857A19B20AA}"/>
              </a:ext>
            </a:extLst>
          </p:cNvPr>
          <p:cNvSpPr/>
          <p:nvPr/>
        </p:nvSpPr>
        <p:spPr>
          <a:xfrm rot="15265321">
            <a:off x="6413693" y="383683"/>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866CB97A-B990-83B7-461F-1083F5F25E69}"/>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6"/>
                </a:solidFill>
              </a:defRPr>
            </a:lvl1pPr>
          </a:lstStyle>
          <a:p>
            <a:r>
              <a:rPr lang="en-US"/>
              <a:t>AGENDA, V2</a:t>
            </a:r>
          </a:p>
        </p:txBody>
      </p:sp>
      <p:sp>
        <p:nvSpPr>
          <p:cNvPr id="3" name="Text Placeholder 27">
            <a:extLst>
              <a:ext uri="{FF2B5EF4-FFF2-40B4-BE49-F238E27FC236}">
                <a16:creationId xmlns:a16="http://schemas.microsoft.com/office/drawing/2014/main" id="{D0CB96AA-8B22-BF23-E2DA-A7695C52C465}"/>
              </a:ext>
            </a:extLst>
          </p:cNvPr>
          <p:cNvSpPr>
            <a:spLocks noGrp="1"/>
          </p:cNvSpPr>
          <p:nvPr>
            <p:ph type="body" sz="quarter" idx="12" hasCustomPrompt="1"/>
          </p:nvPr>
        </p:nvSpPr>
        <p:spPr>
          <a:xfrm>
            <a:off x="699708" y="228999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4" name="Text Placeholder 30">
            <a:extLst>
              <a:ext uri="{FF2B5EF4-FFF2-40B4-BE49-F238E27FC236}">
                <a16:creationId xmlns:a16="http://schemas.microsoft.com/office/drawing/2014/main" id="{20E51E6F-E3DC-28E2-92D1-8461211CC2FA}"/>
              </a:ext>
            </a:extLst>
          </p:cNvPr>
          <p:cNvSpPr>
            <a:spLocks noGrp="1"/>
          </p:cNvSpPr>
          <p:nvPr>
            <p:ph type="body" sz="quarter" idx="13" hasCustomPrompt="1"/>
          </p:nvPr>
        </p:nvSpPr>
        <p:spPr>
          <a:xfrm>
            <a:off x="2138827" y="228600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3" name="Text Placeholder 27">
            <a:extLst>
              <a:ext uri="{FF2B5EF4-FFF2-40B4-BE49-F238E27FC236}">
                <a16:creationId xmlns:a16="http://schemas.microsoft.com/office/drawing/2014/main" id="{48CAB1BC-6DFB-2B34-FAE0-D6213EE2A063}"/>
              </a:ext>
            </a:extLst>
          </p:cNvPr>
          <p:cNvSpPr>
            <a:spLocks noGrp="1"/>
          </p:cNvSpPr>
          <p:nvPr>
            <p:ph type="body" sz="quarter" idx="14" hasCustomPrompt="1"/>
          </p:nvPr>
        </p:nvSpPr>
        <p:spPr>
          <a:xfrm>
            <a:off x="699708" y="286212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4" name="Text Placeholder 30">
            <a:extLst>
              <a:ext uri="{FF2B5EF4-FFF2-40B4-BE49-F238E27FC236}">
                <a16:creationId xmlns:a16="http://schemas.microsoft.com/office/drawing/2014/main" id="{7AF6F506-A464-9AC4-76E0-4C6C0CB18064}"/>
              </a:ext>
            </a:extLst>
          </p:cNvPr>
          <p:cNvSpPr>
            <a:spLocks noGrp="1"/>
          </p:cNvSpPr>
          <p:nvPr>
            <p:ph type="body" sz="quarter" idx="15" hasCustomPrompt="1"/>
          </p:nvPr>
        </p:nvSpPr>
        <p:spPr>
          <a:xfrm>
            <a:off x="2138827" y="285813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5" name="Text Placeholder 27">
            <a:extLst>
              <a:ext uri="{FF2B5EF4-FFF2-40B4-BE49-F238E27FC236}">
                <a16:creationId xmlns:a16="http://schemas.microsoft.com/office/drawing/2014/main" id="{4EA30E06-AA72-8ECD-DC8F-4860CAE7C370}"/>
              </a:ext>
            </a:extLst>
          </p:cNvPr>
          <p:cNvSpPr>
            <a:spLocks noGrp="1"/>
          </p:cNvSpPr>
          <p:nvPr>
            <p:ph type="body" sz="quarter" idx="16" hasCustomPrompt="1"/>
          </p:nvPr>
        </p:nvSpPr>
        <p:spPr>
          <a:xfrm>
            <a:off x="685800" y="343426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6" name="Text Placeholder 30">
            <a:extLst>
              <a:ext uri="{FF2B5EF4-FFF2-40B4-BE49-F238E27FC236}">
                <a16:creationId xmlns:a16="http://schemas.microsoft.com/office/drawing/2014/main" id="{D74BDB36-3B44-90B1-A342-A109DE6A98F7}"/>
              </a:ext>
            </a:extLst>
          </p:cNvPr>
          <p:cNvSpPr>
            <a:spLocks noGrp="1"/>
          </p:cNvSpPr>
          <p:nvPr>
            <p:ph type="body" sz="quarter" idx="17" hasCustomPrompt="1"/>
          </p:nvPr>
        </p:nvSpPr>
        <p:spPr>
          <a:xfrm>
            <a:off x="2124919" y="343027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7" name="Text Placeholder 27">
            <a:extLst>
              <a:ext uri="{FF2B5EF4-FFF2-40B4-BE49-F238E27FC236}">
                <a16:creationId xmlns:a16="http://schemas.microsoft.com/office/drawing/2014/main" id="{6311D3D1-0495-5D64-81B4-BAC67509A2B2}"/>
              </a:ext>
            </a:extLst>
          </p:cNvPr>
          <p:cNvSpPr>
            <a:spLocks noGrp="1"/>
          </p:cNvSpPr>
          <p:nvPr>
            <p:ph type="body" sz="quarter" idx="18" hasCustomPrompt="1"/>
          </p:nvPr>
        </p:nvSpPr>
        <p:spPr>
          <a:xfrm>
            <a:off x="685800" y="400639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8" name="Text Placeholder 30">
            <a:extLst>
              <a:ext uri="{FF2B5EF4-FFF2-40B4-BE49-F238E27FC236}">
                <a16:creationId xmlns:a16="http://schemas.microsoft.com/office/drawing/2014/main" id="{C148BFB0-B4C1-548F-DC4F-96176021EBB7}"/>
              </a:ext>
            </a:extLst>
          </p:cNvPr>
          <p:cNvSpPr>
            <a:spLocks noGrp="1"/>
          </p:cNvSpPr>
          <p:nvPr>
            <p:ph type="body" sz="quarter" idx="19" hasCustomPrompt="1"/>
          </p:nvPr>
        </p:nvSpPr>
        <p:spPr>
          <a:xfrm>
            <a:off x="2124919" y="400240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9" name="Text Placeholder 27">
            <a:extLst>
              <a:ext uri="{FF2B5EF4-FFF2-40B4-BE49-F238E27FC236}">
                <a16:creationId xmlns:a16="http://schemas.microsoft.com/office/drawing/2014/main" id="{E48E2C5A-AF1E-6BD3-5E43-03D3E37241AC}"/>
              </a:ext>
            </a:extLst>
          </p:cNvPr>
          <p:cNvSpPr>
            <a:spLocks noGrp="1"/>
          </p:cNvSpPr>
          <p:nvPr>
            <p:ph type="body" sz="quarter" idx="20" hasCustomPrompt="1"/>
          </p:nvPr>
        </p:nvSpPr>
        <p:spPr>
          <a:xfrm>
            <a:off x="703021" y="457853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0" name="Text Placeholder 30">
            <a:extLst>
              <a:ext uri="{FF2B5EF4-FFF2-40B4-BE49-F238E27FC236}">
                <a16:creationId xmlns:a16="http://schemas.microsoft.com/office/drawing/2014/main" id="{5E2BFEFD-9D67-4F49-5F87-8C927391D19A}"/>
              </a:ext>
            </a:extLst>
          </p:cNvPr>
          <p:cNvSpPr>
            <a:spLocks noGrp="1"/>
          </p:cNvSpPr>
          <p:nvPr>
            <p:ph type="body" sz="quarter" idx="21" hasCustomPrompt="1"/>
          </p:nvPr>
        </p:nvSpPr>
        <p:spPr>
          <a:xfrm>
            <a:off x="2142140" y="457454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1" name="Text Placeholder 27">
            <a:extLst>
              <a:ext uri="{FF2B5EF4-FFF2-40B4-BE49-F238E27FC236}">
                <a16:creationId xmlns:a16="http://schemas.microsoft.com/office/drawing/2014/main" id="{1987FB20-73D9-1C6A-8764-016AC2650505}"/>
              </a:ext>
            </a:extLst>
          </p:cNvPr>
          <p:cNvSpPr>
            <a:spLocks noGrp="1"/>
          </p:cNvSpPr>
          <p:nvPr>
            <p:ph type="body" sz="quarter" idx="22" hasCustomPrompt="1"/>
          </p:nvPr>
        </p:nvSpPr>
        <p:spPr>
          <a:xfrm>
            <a:off x="685800" y="5722798"/>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2" name="Text Placeholder 30">
            <a:extLst>
              <a:ext uri="{FF2B5EF4-FFF2-40B4-BE49-F238E27FC236}">
                <a16:creationId xmlns:a16="http://schemas.microsoft.com/office/drawing/2014/main" id="{1D12C7F9-639A-CAFF-80EF-7456BF211E33}"/>
              </a:ext>
            </a:extLst>
          </p:cNvPr>
          <p:cNvSpPr>
            <a:spLocks noGrp="1"/>
          </p:cNvSpPr>
          <p:nvPr>
            <p:ph type="body" sz="quarter" idx="23" hasCustomPrompt="1"/>
          </p:nvPr>
        </p:nvSpPr>
        <p:spPr>
          <a:xfrm>
            <a:off x="2124919" y="5718808"/>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3" name="Text Placeholder 27">
            <a:extLst>
              <a:ext uri="{FF2B5EF4-FFF2-40B4-BE49-F238E27FC236}">
                <a16:creationId xmlns:a16="http://schemas.microsoft.com/office/drawing/2014/main" id="{F8AFA110-EEC1-0978-C56D-55DAAAAF225A}"/>
              </a:ext>
            </a:extLst>
          </p:cNvPr>
          <p:cNvSpPr>
            <a:spLocks noGrp="1"/>
          </p:cNvSpPr>
          <p:nvPr>
            <p:ph type="body" sz="quarter" idx="24" hasCustomPrompt="1"/>
          </p:nvPr>
        </p:nvSpPr>
        <p:spPr>
          <a:xfrm>
            <a:off x="685800" y="515066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4" name="Text Placeholder 30">
            <a:extLst>
              <a:ext uri="{FF2B5EF4-FFF2-40B4-BE49-F238E27FC236}">
                <a16:creationId xmlns:a16="http://schemas.microsoft.com/office/drawing/2014/main" id="{EB56DE93-EDBF-854D-F93D-5E3BB72D4CE2}"/>
              </a:ext>
            </a:extLst>
          </p:cNvPr>
          <p:cNvSpPr>
            <a:spLocks noGrp="1"/>
          </p:cNvSpPr>
          <p:nvPr>
            <p:ph type="body" sz="quarter" idx="25" hasCustomPrompt="1"/>
          </p:nvPr>
        </p:nvSpPr>
        <p:spPr>
          <a:xfrm>
            <a:off x="2124919" y="514667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Tree>
    <p:extLst>
      <p:ext uri="{BB962C8B-B14F-4D97-AF65-F5344CB8AC3E}">
        <p14:creationId xmlns:p14="http://schemas.microsoft.com/office/powerpoint/2010/main" val="9004875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V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9735673" cy="685800"/>
          </a:xfrm>
          <a:prstGeom prst="rect">
            <a:avLst/>
          </a:prstGeom>
        </p:spPr>
        <p:txBody>
          <a:bodyPr/>
          <a:lstStyle>
            <a:lvl1pPr>
              <a:defRPr sz="3600" b="1"/>
            </a:lvl1pPr>
          </a:lstStyle>
          <a:p>
            <a:r>
              <a:rPr lang="en-US">
                <a:latin typeface="Stratum2 Regular" panose="020B0506030000020004" pitchFamily="34" charset="77"/>
              </a:rPr>
              <a:t>Table, V1</a:t>
            </a:r>
          </a:p>
        </p:txBody>
      </p:sp>
      <p:sp>
        <p:nvSpPr>
          <p:cNvPr id="4" name="Text Placeholder 7">
            <a:extLst>
              <a:ext uri="{FF2B5EF4-FFF2-40B4-BE49-F238E27FC236}">
                <a16:creationId xmlns:a16="http://schemas.microsoft.com/office/drawing/2014/main" id="{86CFE7D5-BE06-9F36-C314-6122984C58D0}"/>
              </a:ext>
            </a:extLst>
          </p:cNvPr>
          <p:cNvSpPr>
            <a:spLocks noGrp="1"/>
          </p:cNvSpPr>
          <p:nvPr>
            <p:ph type="body" sz="quarter" idx="12" hasCustomPrompt="1"/>
          </p:nvPr>
        </p:nvSpPr>
        <p:spPr>
          <a:xfrm>
            <a:off x="327276" y="1269241"/>
            <a:ext cx="11466896" cy="468574"/>
          </a:xfrm>
          <a:prstGeom prst="rect">
            <a:avLst/>
          </a:prstGeom>
        </p:spPr>
        <p:txBody>
          <a:bodyPr/>
          <a:lstStyle>
            <a:lvl1pPr marL="0" indent="0">
              <a:lnSpc>
                <a:spcPct val="100000"/>
              </a:lnSpc>
              <a:spcBef>
                <a:spcPts val="600"/>
              </a:spcBef>
              <a:buNone/>
              <a:defRPr sz="2000">
                <a:latin typeface="Kievit Offc"/>
              </a:defRPr>
            </a:lvl1pPr>
          </a:lstStyle>
          <a:p>
            <a:r>
              <a:rPr lang="en-US">
                <a:latin typeface="Stratum2 Regular" panose="020B0506030000020004" pitchFamily="34" charset="77"/>
              </a:rPr>
              <a:t>Content</a:t>
            </a:r>
          </a:p>
        </p:txBody>
      </p:sp>
      <p:pic>
        <p:nvPicPr>
          <p:cNvPr id="6" name="Picture 5" descr="A black background with orange text&#10;&#10;Description automatically generated">
            <a:extLst>
              <a:ext uri="{FF2B5EF4-FFF2-40B4-BE49-F238E27FC236}">
                <a16:creationId xmlns:a16="http://schemas.microsoft.com/office/drawing/2014/main" id="{A817116A-53DB-8776-C9AE-9493E0A4D8BC}"/>
              </a:ext>
            </a:extLst>
          </p:cNvPr>
          <p:cNvPicPr>
            <a:picLocks noChangeAspect="1"/>
          </p:cNvPicPr>
          <p:nvPr/>
        </p:nvPicPr>
        <p:blipFill>
          <a:blip r:embed="rId2"/>
          <a:stretch>
            <a:fillRect/>
          </a:stretch>
        </p:blipFill>
        <p:spPr>
          <a:xfrm>
            <a:off x="10251062" y="61026"/>
            <a:ext cx="1854253" cy="554671"/>
          </a:xfrm>
          <a:prstGeom prst="rect">
            <a:avLst/>
          </a:prstGeom>
        </p:spPr>
      </p:pic>
      <p:sp>
        <p:nvSpPr>
          <p:cNvPr id="9" name="Table Placeholder 8">
            <a:extLst>
              <a:ext uri="{FF2B5EF4-FFF2-40B4-BE49-F238E27FC236}">
                <a16:creationId xmlns:a16="http://schemas.microsoft.com/office/drawing/2014/main" id="{A01241D1-786B-0AA0-7200-FEBB72708B6D}"/>
              </a:ext>
            </a:extLst>
          </p:cNvPr>
          <p:cNvSpPr>
            <a:spLocks noGrp="1"/>
          </p:cNvSpPr>
          <p:nvPr>
            <p:ph type="tbl" sz="quarter" idx="13"/>
          </p:nvPr>
        </p:nvSpPr>
        <p:spPr>
          <a:xfrm>
            <a:off x="327275" y="1804828"/>
            <a:ext cx="11466897" cy="4748372"/>
          </a:xfrm>
          <a:prstGeom prst="rect">
            <a:avLst/>
          </a:prstGeom>
        </p:spPr>
        <p:txBody>
          <a:bodyPr/>
          <a:lstStyle>
            <a:lvl1pPr>
              <a:lnSpc>
                <a:spcPct val="100000"/>
              </a:lnSpc>
              <a:spcBef>
                <a:spcPts val="600"/>
              </a:spcBef>
              <a:defRPr sz="2000"/>
            </a:lvl1pPr>
          </a:lstStyle>
          <a:p>
            <a:r>
              <a:rPr lang="en-US"/>
              <a:t>Click icon to add table</a:t>
            </a:r>
          </a:p>
        </p:txBody>
      </p:sp>
    </p:spTree>
    <p:extLst>
      <p:ext uri="{BB962C8B-B14F-4D97-AF65-F5344CB8AC3E}">
        <p14:creationId xmlns:p14="http://schemas.microsoft.com/office/powerpoint/2010/main" val="12694034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able, V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a:extLst>
                <a:ext uri="{96DAC541-7B7A-43D3-8B79-37D633B846F1}">
                  <asvg:svgBlip xmlns:asvg="http://schemas.microsoft.com/office/drawing/2016/SVG/main" r:embed="rId2"/>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7">
            <a:extLst>
              <a:ext uri="{FF2B5EF4-FFF2-40B4-BE49-F238E27FC236}">
                <a16:creationId xmlns:a16="http://schemas.microsoft.com/office/drawing/2014/main" id="{E75429C0-D366-D032-EDBC-1FD83E6A85AD}"/>
              </a:ext>
            </a:extLst>
          </p:cNvPr>
          <p:cNvSpPr>
            <a:spLocks noGrp="1"/>
          </p:cNvSpPr>
          <p:nvPr>
            <p:ph type="body" sz="quarter" idx="12" hasCustomPrompt="1"/>
          </p:nvPr>
        </p:nvSpPr>
        <p:spPr>
          <a:xfrm>
            <a:off x="178904" y="5250014"/>
            <a:ext cx="8026465" cy="1379385"/>
          </a:xfrm>
          <a:prstGeom prst="rect">
            <a:avLst/>
          </a:prstGeom>
        </p:spPr>
        <p:txBody>
          <a:bodyPr/>
          <a:lstStyle>
            <a:lvl1pPr>
              <a:lnSpc>
                <a:spcPct val="100000"/>
              </a:lnSpc>
              <a:spcBef>
                <a:spcPts val="600"/>
              </a:spcBef>
              <a:defRPr sz="1800">
                <a:latin typeface="Kievit Offc"/>
              </a:defRPr>
            </a:lvl1pPr>
          </a:lstStyle>
          <a:p>
            <a:r>
              <a:rPr lang="en-US">
                <a:latin typeface="Stratum2 Regular" panose="020B0506030000020004" pitchFamily="34" charset="77"/>
              </a:rPr>
              <a:t>Content</a:t>
            </a:r>
          </a:p>
        </p:txBody>
      </p:sp>
      <p:sp>
        <p:nvSpPr>
          <p:cNvPr id="5" name="Table Placeholder 8">
            <a:extLst>
              <a:ext uri="{FF2B5EF4-FFF2-40B4-BE49-F238E27FC236}">
                <a16:creationId xmlns:a16="http://schemas.microsoft.com/office/drawing/2014/main" id="{3B45E2D9-AB89-F163-DEFB-03C206B301D2}"/>
              </a:ext>
            </a:extLst>
          </p:cNvPr>
          <p:cNvSpPr>
            <a:spLocks noGrp="1"/>
          </p:cNvSpPr>
          <p:nvPr>
            <p:ph type="tbl" sz="quarter" idx="13"/>
          </p:nvPr>
        </p:nvSpPr>
        <p:spPr>
          <a:xfrm>
            <a:off x="178903" y="1903547"/>
            <a:ext cx="8026465" cy="3300572"/>
          </a:xfrm>
          <a:prstGeom prst="rect">
            <a:avLst/>
          </a:prstGeom>
        </p:spPr>
        <p:txBody>
          <a:bodyPr/>
          <a:lstStyle>
            <a:lvl1pPr>
              <a:lnSpc>
                <a:spcPct val="100000"/>
              </a:lnSpc>
              <a:spcBef>
                <a:spcPts val="600"/>
              </a:spcBef>
              <a:defRPr sz="2000"/>
            </a:lvl1pPr>
          </a:lstStyle>
          <a:p>
            <a:r>
              <a:rPr lang="en-US"/>
              <a:t>Click icon to add table</a:t>
            </a:r>
          </a:p>
        </p:txBody>
      </p:sp>
      <p:sp>
        <p:nvSpPr>
          <p:cNvPr id="6" name="Title 37">
            <a:extLst>
              <a:ext uri="{FF2B5EF4-FFF2-40B4-BE49-F238E27FC236}">
                <a16:creationId xmlns:a16="http://schemas.microsoft.com/office/drawing/2014/main" id="{58961870-7A55-3EC7-2BF3-C12BDA66CD3C}"/>
              </a:ext>
            </a:extLst>
          </p:cNvPr>
          <p:cNvSpPr>
            <a:spLocks noGrp="1"/>
          </p:cNvSpPr>
          <p:nvPr>
            <p:ph type="title" hasCustomPrompt="1"/>
          </p:nvPr>
        </p:nvSpPr>
        <p:spPr>
          <a:xfrm>
            <a:off x="327274" y="406404"/>
            <a:ext cx="5788603" cy="685801"/>
          </a:xfrm>
          <a:prstGeom prst="rect">
            <a:avLst/>
          </a:prstGeom>
        </p:spPr>
        <p:txBody>
          <a:bodyPr/>
          <a:lstStyle>
            <a:lvl1pPr>
              <a:defRPr sz="3600" b="1">
                <a:solidFill>
                  <a:schemeClr val="tx1">
                    <a:lumMod val="75000"/>
                    <a:lumOff val="25000"/>
                  </a:schemeClr>
                </a:solidFill>
              </a:defRPr>
            </a:lvl1pPr>
          </a:lstStyle>
          <a:p>
            <a:r>
              <a:rPr lang="en-US"/>
              <a:t>TABLE, V2</a:t>
            </a:r>
          </a:p>
        </p:txBody>
      </p:sp>
    </p:spTree>
    <p:extLst>
      <p:ext uri="{BB962C8B-B14F-4D97-AF65-F5344CB8AC3E}">
        <p14:creationId xmlns:p14="http://schemas.microsoft.com/office/powerpoint/2010/main" val="42387390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Column, V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a:extLst>
                <a:ext uri="{96DAC541-7B7A-43D3-8B79-37D633B846F1}">
                  <asvg:svgBlip xmlns:asvg="http://schemas.microsoft.com/office/drawing/2016/SVG/main" r:embed="rId2"/>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67974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3</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27275" y="2743200"/>
            <a:ext cx="6797425"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14504117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 Column, V4">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571999" y="406404"/>
            <a:ext cx="6210299"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4</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22952378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 Column, V5">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55FCCF7-BB4E-14D1-F8AC-37717F4B9C17}"/>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4997" y="0"/>
            <a:ext cx="3814997" cy="6858000"/>
          </a:xfrm>
          <a:prstGeom prst="rect">
            <a:avLst/>
          </a:prstGeom>
        </p:spPr>
      </p:pic>
      <p:sp>
        <p:nvSpPr>
          <p:cNvPr id="6" name="Oval 5">
            <a:extLst>
              <a:ext uri="{FF2B5EF4-FFF2-40B4-BE49-F238E27FC236}">
                <a16:creationId xmlns:a16="http://schemas.microsoft.com/office/drawing/2014/main" id="{5ACA6062-F403-EFF9-5669-FFE4B2242B23}"/>
              </a:ext>
            </a:extLst>
          </p:cNvPr>
          <p:cNvSpPr/>
          <p:nvPr/>
        </p:nvSpPr>
        <p:spPr>
          <a:xfrm>
            <a:off x="1350156" y="217327"/>
            <a:ext cx="2919885" cy="2919885"/>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lock Arc 6">
            <a:extLst>
              <a:ext uri="{FF2B5EF4-FFF2-40B4-BE49-F238E27FC236}">
                <a16:creationId xmlns:a16="http://schemas.microsoft.com/office/drawing/2014/main" id="{0DD5E19D-591B-A136-3213-A4EE67025D0C}"/>
              </a:ext>
            </a:extLst>
          </p:cNvPr>
          <p:cNvSpPr/>
          <p:nvPr/>
        </p:nvSpPr>
        <p:spPr>
          <a:xfrm rot="10800000">
            <a:off x="869533" y="146172"/>
            <a:ext cx="3509559" cy="3509559"/>
          </a:xfrm>
          <a:prstGeom prst="blockArc">
            <a:avLst>
              <a:gd name="adj1" fmla="val 15955011"/>
              <a:gd name="adj2" fmla="val 21546639"/>
              <a:gd name="adj3" fmla="val 7051"/>
            </a:avLst>
          </a:prstGeom>
          <a:pattFill prst="ltDnDiag">
            <a:fgClr>
              <a:schemeClr val="bg1"/>
            </a:fgClr>
            <a:bgClr>
              <a:schemeClr val="accent3"/>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F6732128-9E77-2643-A9BC-34A9EC6EB042}"/>
              </a:ext>
            </a:extLst>
          </p:cNvPr>
          <p:cNvSpPr>
            <a:spLocks noGrp="1"/>
          </p:cNvSpPr>
          <p:nvPr>
            <p:ph type="title" hasCustomPrompt="1"/>
          </p:nvPr>
        </p:nvSpPr>
        <p:spPr>
          <a:xfrm>
            <a:off x="4572000" y="406404"/>
            <a:ext cx="62103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5</a:t>
            </a:r>
          </a:p>
        </p:txBody>
      </p:sp>
      <p:sp>
        <p:nvSpPr>
          <p:cNvPr id="9" name="Text Placeholder 30">
            <a:extLst>
              <a:ext uri="{FF2B5EF4-FFF2-40B4-BE49-F238E27FC236}">
                <a16:creationId xmlns:a16="http://schemas.microsoft.com/office/drawing/2014/main" id="{FE8FCA75-5791-11ED-C032-D4FC65C53E4D}"/>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16987123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 Column, V6">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BDFE0F6E-A8AA-4DE8-B1FB-3077B4A31987}"/>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8377003" y="0"/>
            <a:ext cx="3814997" cy="6858000"/>
          </a:xfrm>
          <a:prstGeom prst="rect">
            <a:avLst/>
          </a:prstGeom>
        </p:spPr>
      </p:pic>
      <p:sp>
        <p:nvSpPr>
          <p:cNvPr id="16" name="Block Arc 15">
            <a:extLst>
              <a:ext uri="{FF2B5EF4-FFF2-40B4-BE49-F238E27FC236}">
                <a16:creationId xmlns:a16="http://schemas.microsoft.com/office/drawing/2014/main" id="{7366B92A-85B2-AC56-FFBF-AFBB3E4A21E1}"/>
              </a:ext>
            </a:extLst>
          </p:cNvPr>
          <p:cNvSpPr/>
          <p:nvPr/>
        </p:nvSpPr>
        <p:spPr>
          <a:xfrm rot="5400000">
            <a:off x="4847015" y="-56284"/>
            <a:ext cx="6494068" cy="6494068"/>
          </a:xfrm>
          <a:prstGeom prst="blockArc">
            <a:avLst>
              <a:gd name="adj1" fmla="val 13180794"/>
              <a:gd name="adj2" fmla="val 16346569"/>
              <a:gd name="adj3" fmla="val 5904"/>
            </a:avLst>
          </a:prstGeom>
          <a:pattFill prst="ltDnDiag">
            <a:fgClr>
              <a:schemeClr val="bg1"/>
            </a:fgClr>
            <a:bgClr>
              <a:schemeClr val="accent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DB9DCF18-C836-7CEB-3C28-6AC635ED4BD5}"/>
              </a:ext>
            </a:extLst>
          </p:cNvPr>
          <p:cNvSpPr>
            <a:spLocks noGrp="1"/>
          </p:cNvSpPr>
          <p:nvPr>
            <p:ph type="title" hasCustomPrompt="1"/>
          </p:nvPr>
        </p:nvSpPr>
        <p:spPr>
          <a:xfrm>
            <a:off x="327274" y="406404"/>
            <a:ext cx="6797425"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6</a:t>
            </a:r>
          </a:p>
        </p:txBody>
      </p:sp>
      <p:sp>
        <p:nvSpPr>
          <p:cNvPr id="3" name="Text Placeholder 30">
            <a:extLst>
              <a:ext uri="{FF2B5EF4-FFF2-40B4-BE49-F238E27FC236}">
                <a16:creationId xmlns:a16="http://schemas.microsoft.com/office/drawing/2014/main" id="{DEC85320-2F25-2A94-BB1F-AEAC4B2C3910}"/>
              </a:ext>
            </a:extLst>
          </p:cNvPr>
          <p:cNvSpPr>
            <a:spLocks noGrp="1"/>
          </p:cNvSpPr>
          <p:nvPr>
            <p:ph type="body" sz="quarter" idx="19" hasCustomPrompt="1"/>
          </p:nvPr>
        </p:nvSpPr>
        <p:spPr>
          <a:xfrm>
            <a:off x="327274" y="2743200"/>
            <a:ext cx="6797426"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8" name="Picture Placeholder 7">
            <a:extLst>
              <a:ext uri="{FF2B5EF4-FFF2-40B4-BE49-F238E27FC236}">
                <a16:creationId xmlns:a16="http://schemas.microsoft.com/office/drawing/2014/main" id="{C41BBFA7-2804-E597-0DC4-08ED98D30D4B}"/>
              </a:ext>
            </a:extLst>
          </p:cNvPr>
          <p:cNvSpPr>
            <a:spLocks noGrp="1"/>
          </p:cNvSpPr>
          <p:nvPr>
            <p:ph type="pic" sz="quarter" idx="21"/>
          </p:nvPr>
        </p:nvSpPr>
        <p:spPr>
          <a:xfrm>
            <a:off x="8377238" y="914400"/>
            <a:ext cx="2747962" cy="5181600"/>
          </a:xfrm>
          <a:prstGeom prst="rect">
            <a:avLst/>
          </a:prstGeom>
        </p:spPr>
        <p:txBody>
          <a:bodyPr/>
          <a:lstStyle/>
          <a:p>
            <a:r>
              <a:rPr lang="en-US"/>
              <a:t>Click icon to add picture</a:t>
            </a:r>
          </a:p>
        </p:txBody>
      </p:sp>
    </p:spTree>
    <p:extLst>
      <p:ext uri="{BB962C8B-B14F-4D97-AF65-F5344CB8AC3E}">
        <p14:creationId xmlns:p14="http://schemas.microsoft.com/office/powerpoint/2010/main" val="1045656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DC4405"/>
        </a:solidFill>
        <a:effectLst/>
      </p:bgPr>
    </p:bg>
    <p:spTree>
      <p:nvGrpSpPr>
        <p:cNvPr id="1" name=""/>
        <p:cNvGrpSpPr/>
        <p:nvPr/>
      </p:nvGrpSpPr>
      <p:grpSpPr>
        <a:xfrm>
          <a:off x="0" y="0"/>
          <a:ext cx="0" cy="0"/>
          <a:chOff x="0" y="0"/>
          <a:chExt cx="0" cy="0"/>
        </a:xfrm>
      </p:grpSpPr>
      <p:sp>
        <p:nvSpPr>
          <p:cNvPr id="6" name="Oval 5"/>
          <p:cNvSpPr/>
          <p:nvPr userDrawn="1"/>
        </p:nvSpPr>
        <p:spPr>
          <a:xfrm>
            <a:off x="4018146" y="1386020"/>
            <a:ext cx="4112167" cy="4112166"/>
          </a:xfrm>
          <a:prstGeom prst="ellipse">
            <a:avLst/>
          </a:prstGeom>
          <a:solidFill>
            <a:schemeClr val="bg1"/>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title"/>
          </p:nvPr>
        </p:nvSpPr>
        <p:spPr>
          <a:xfrm>
            <a:off x="4273421" y="3859027"/>
            <a:ext cx="3638939" cy="494927"/>
          </a:xfrm>
        </p:spPr>
        <p:txBody>
          <a:bodyPr>
            <a:normAutofit/>
          </a:bodyPr>
          <a:lstStyle>
            <a:lvl1pPr algn="ct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Picture Placeholder 2"/>
          <p:cNvSpPr>
            <a:spLocks noGrp="1"/>
          </p:cNvSpPr>
          <p:nvPr>
            <p:ph type="pic" sz="quarter" idx="10" hasCustomPrompt="1"/>
          </p:nvPr>
        </p:nvSpPr>
        <p:spPr>
          <a:xfrm>
            <a:off x="5617028" y="2165323"/>
            <a:ext cx="914400" cy="914400"/>
          </a:xfrm>
        </p:spPr>
        <p:txBody>
          <a:bodyPr>
            <a:noAutofit/>
          </a:bodyPr>
          <a:lstStyle>
            <a:lvl1pPr marL="0" indent="0">
              <a:buNone/>
              <a:defRPr sz="2000"/>
            </a:lvl1pPr>
          </a:lstStyle>
          <a:p>
            <a:r>
              <a:rPr lang="en-US"/>
              <a:t>Icon image</a:t>
            </a:r>
          </a:p>
        </p:txBody>
      </p:sp>
    </p:spTree>
    <p:extLst>
      <p:ext uri="{BB962C8B-B14F-4D97-AF65-F5344CB8AC3E}">
        <p14:creationId xmlns:p14="http://schemas.microsoft.com/office/powerpoint/2010/main" val="14293262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 Column, V7">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39D754A-5A3D-E4E1-8271-3E1720EF0EB0}"/>
              </a:ext>
            </a:extLst>
          </p:cNvPr>
          <p:cNvPicPr>
            <a:picLocks noChangeAspect="1"/>
          </p:cNvPicPr>
          <p:nvPr/>
        </p:nvPicPr>
        <p:blipFill rotWithShape="1">
          <a:blip>
            <a:extLst>
              <a:ext uri="{96DAC541-7B7A-43D3-8B79-37D633B846F1}">
                <asvg:svgBlip xmlns:asvg="http://schemas.microsoft.com/office/drawing/2016/SVG/main" r:embed="rId2"/>
              </a:ext>
            </a:extLst>
          </a:blip>
          <a:srcRect t="2036" b="6314"/>
          <a:stretch/>
        </p:blipFill>
        <p:spPr>
          <a:xfrm>
            <a:off x="8377003" y="0"/>
            <a:ext cx="3814997" cy="6858000"/>
          </a:xfrm>
          <a:prstGeom prst="rect">
            <a:avLst/>
          </a:prstGeom>
        </p:spPr>
      </p:pic>
      <p:sp>
        <p:nvSpPr>
          <p:cNvPr id="5" name="Freeform 4">
            <a:extLst>
              <a:ext uri="{FF2B5EF4-FFF2-40B4-BE49-F238E27FC236}">
                <a16:creationId xmlns:a16="http://schemas.microsoft.com/office/drawing/2014/main" id="{CAF95D7F-F4BF-98B9-C2DB-44744D34EE50}"/>
              </a:ext>
            </a:extLst>
          </p:cNvPr>
          <p:cNvSpPr/>
          <p:nvPr/>
        </p:nvSpPr>
        <p:spPr>
          <a:xfrm>
            <a:off x="8153400"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D4748339-8FFB-BFA5-2465-E7F1ABBEE2FA}"/>
              </a:ext>
            </a:extLst>
          </p:cNvPr>
          <p:cNvSpPr/>
          <p:nvPr/>
        </p:nvSpPr>
        <p:spPr>
          <a:xfrm>
            <a:off x="8153399"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blipFill dpi="0" rotWithShape="1">
            <a:blip>
              <a:extLst>
                <a:ext uri="{96DAC541-7B7A-43D3-8B79-37D633B846F1}">
                  <asvg:svgBlip xmlns:asvg="http://schemas.microsoft.com/office/drawing/2016/SVG/main" r:embed="rId3"/>
                </a:ext>
              </a:extLst>
            </a:blip>
            <a:srcRect/>
            <a:stretch>
              <a:fillRect l="-2294" t="16876" r="-78860" b="-1623"/>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9006B16B-7189-CC21-7888-92E817DF6379}"/>
              </a:ext>
            </a:extLst>
          </p:cNvPr>
          <p:cNvSpPr/>
          <p:nvPr/>
        </p:nvSpPr>
        <p:spPr>
          <a:xfrm rot="9673331">
            <a:off x="4704869" y="144930"/>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13E07904-F0E0-29EF-8212-1CB8FCDE7585}"/>
              </a:ext>
            </a:extLst>
          </p:cNvPr>
          <p:cNvSpPr>
            <a:spLocks noGrp="1"/>
          </p:cNvSpPr>
          <p:nvPr>
            <p:ph type="title" hasCustomPrompt="1"/>
          </p:nvPr>
        </p:nvSpPr>
        <p:spPr>
          <a:xfrm>
            <a:off x="327275" y="406404"/>
            <a:ext cx="59436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7</a:t>
            </a:r>
          </a:p>
        </p:txBody>
      </p:sp>
      <p:sp>
        <p:nvSpPr>
          <p:cNvPr id="9" name="Text Placeholder 30">
            <a:extLst>
              <a:ext uri="{FF2B5EF4-FFF2-40B4-BE49-F238E27FC236}">
                <a16:creationId xmlns:a16="http://schemas.microsoft.com/office/drawing/2014/main" id="{267C898D-A00D-F2A6-3C23-2E256B455642}"/>
              </a:ext>
            </a:extLst>
          </p:cNvPr>
          <p:cNvSpPr>
            <a:spLocks noGrp="1"/>
          </p:cNvSpPr>
          <p:nvPr>
            <p:ph type="body" sz="quarter" idx="19" hasCustomPrompt="1"/>
          </p:nvPr>
        </p:nvSpPr>
        <p:spPr>
          <a:xfrm>
            <a:off x="327275"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8624554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20322D-D2B8-44F2-9325-A47D03EF0CCF}"/>
              </a:ext>
            </a:extLst>
          </p:cNvPr>
          <p:cNvGraphicFramePr>
            <a:graphicFrameLocks noChangeAspect="1"/>
          </p:cNvGraphicFramePr>
          <p:nvPr userDrawn="1">
            <p:custDataLst>
              <p:tags r:id="rId1"/>
            </p:custDataLst>
            <p:extLst>
              <p:ext uri="{D42A27DB-BD31-4B8C-83A1-F6EECF244321}">
                <p14:modId xmlns:p14="http://schemas.microsoft.com/office/powerpoint/2010/main" val="2449252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DE20322D-D2B8-44F2-9325-A47D03EF0C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2B765F-6F86-41CB-BB83-F49F69A33236}"/>
              </a:ext>
            </a:extLst>
          </p:cNvPr>
          <p:cNvSpPr/>
          <p:nvPr userDrawn="1">
            <p:custDataLst>
              <p:tags r:id="rId2"/>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a:latin typeface="Chronicle Display Black" pitchFamily="50" charset="0"/>
              <a:sym typeface="Chronicle Display Black" pitchFamily="50" charset="0"/>
            </a:endParaRPr>
          </a:p>
        </p:txBody>
      </p:sp>
      <p:sp>
        <p:nvSpPr>
          <p:cNvPr id="2" name="Title 1"/>
          <p:cNvSpPr>
            <a:spLocks noGrp="1"/>
          </p:cNvSpPr>
          <p:nvPr>
            <p:ph type="title"/>
          </p:nvPr>
        </p:nvSpPr>
        <p:spPr>
          <a:xfrm>
            <a:off x="914400" y="694944"/>
            <a:ext cx="10363200" cy="594360"/>
          </a:xfrm>
        </p:spPr>
        <p:txBody>
          <a:bodyPr vert="horz" lIns="0" tIns="45720" rIns="0" bIns="0" rtlCol="0" anchor="t" anchorCtr="0">
            <a:noAutofit/>
          </a:bodyPr>
          <a:lstStyle>
            <a:lvl1pPr>
              <a:defRPr lang="en-US" sz="28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9592752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5166272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81B5D824-FFAE-E318-F9CE-251002B55636}"/>
              </a:ext>
            </a:extLst>
          </p:cNvPr>
          <p:cNvSpPr>
            <a:spLocks noGrp="1"/>
          </p:cNvSpPr>
          <p:nvPr>
            <p:ph type="title"/>
          </p:nvPr>
        </p:nvSpPr>
        <p:spPr bwMode="gray">
          <a:xfrm>
            <a:off x="469900" y="458788"/>
            <a:ext cx="11252200" cy="692150"/>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4823368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73544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_and_text">
    <p:spTree>
      <p:nvGrpSpPr>
        <p:cNvPr id="1" name=""/>
        <p:cNvGrpSpPr/>
        <p:nvPr/>
      </p:nvGrpSpPr>
      <p:grpSpPr>
        <a:xfrm>
          <a:off x="0" y="0"/>
          <a:ext cx="0" cy="0"/>
          <a:chOff x="0" y="0"/>
          <a:chExt cx="0" cy="0"/>
        </a:xfrm>
      </p:grpSpPr>
      <p:sp>
        <p:nvSpPr>
          <p:cNvPr id="14" name="Text Placeholder 18"/>
          <p:cNvSpPr>
            <a:spLocks noGrp="1"/>
          </p:cNvSpPr>
          <p:nvPr>
            <p:ph idx="1" hasCustomPrompt="1"/>
          </p:nvPr>
        </p:nvSpPr>
        <p:spPr>
          <a:xfrm>
            <a:off x="469900"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2" name="Text Placeholder 18">
            <a:extLst>
              <a:ext uri="{FF2B5EF4-FFF2-40B4-BE49-F238E27FC236}">
                <a16:creationId xmlns:a16="http://schemas.microsoft.com/office/drawing/2014/main" id="{A77F2668-1FBC-D9E1-569F-EBAB4D35EDC9}"/>
              </a:ext>
            </a:extLst>
          </p:cNvPr>
          <p:cNvSpPr>
            <a:spLocks noGrp="1"/>
          </p:cNvSpPr>
          <p:nvPr>
            <p:ph idx="10"/>
          </p:nvPr>
        </p:nvSpPr>
        <p:spPr>
          <a:xfrm>
            <a:off x="469900"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10">
            <a:extLst>
              <a:ext uri="{FF2B5EF4-FFF2-40B4-BE49-F238E27FC236}">
                <a16:creationId xmlns:a16="http://schemas.microsoft.com/office/drawing/2014/main" id="{C8D4B8F4-AD0C-4806-1D58-6F3B72F6B3A9}"/>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
        <p:nvSpPr>
          <p:cNvPr id="6" name="Text Placeholder 18">
            <a:extLst>
              <a:ext uri="{FF2B5EF4-FFF2-40B4-BE49-F238E27FC236}">
                <a16:creationId xmlns:a16="http://schemas.microsoft.com/office/drawing/2014/main" id="{EA81CA01-AA8E-F633-AB09-C219BFE1B473}"/>
              </a:ext>
            </a:extLst>
          </p:cNvPr>
          <p:cNvSpPr>
            <a:spLocks noGrp="1"/>
          </p:cNvSpPr>
          <p:nvPr>
            <p:ph idx="11" hasCustomPrompt="1"/>
          </p:nvPr>
        </p:nvSpPr>
        <p:spPr>
          <a:xfrm>
            <a:off x="6311155"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7" name="Text Placeholder 18">
            <a:extLst>
              <a:ext uri="{FF2B5EF4-FFF2-40B4-BE49-F238E27FC236}">
                <a16:creationId xmlns:a16="http://schemas.microsoft.com/office/drawing/2014/main" id="{7EB31175-EBAA-6E8E-405D-9E035CDE19D5}"/>
              </a:ext>
            </a:extLst>
          </p:cNvPr>
          <p:cNvSpPr>
            <a:spLocks noGrp="1"/>
          </p:cNvSpPr>
          <p:nvPr>
            <p:ph idx="12"/>
          </p:nvPr>
        </p:nvSpPr>
        <p:spPr>
          <a:xfrm>
            <a:off x="6311153"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600835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a:cs typeface="+mn-cs"/>
            </a:endParaRPr>
          </a:p>
        </p:txBody>
      </p:sp>
      <p:sp>
        <p:nvSpPr>
          <p:cNvPr id="14" name="Text Placeholder 13"/>
          <p:cNvSpPr>
            <a:spLocks noGrp="1"/>
          </p:cNvSpPr>
          <p:nvPr>
            <p:ph type="body" sz="quarter" idx="10"/>
          </p:nvPr>
        </p:nvSpPr>
        <p:spPr>
          <a:xfrm>
            <a:off x="524256" y="1152144"/>
            <a:ext cx="5352288"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6315456" y="1152144"/>
            <a:ext cx="5352288" cy="5138928"/>
          </a:xfrm>
          <a:prstGeom prst="rect">
            <a:avLst/>
          </a:prstGeo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524256" y="256032"/>
            <a:ext cx="11131296" cy="521208"/>
          </a:xfrm>
          <a:prstGeom prst="rect">
            <a:avLst/>
          </a:prstGeo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5905855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18637" y="569113"/>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1271650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86308060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1454345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51" name="Picture 50"/>
          <p:cNvPicPr>
            <a:picLocks noChangeAspect="1"/>
          </p:cNvPicPr>
          <p:nvPr userDrawn="1"/>
        </p:nvPicPr>
        <p:blipFill rotWithShape="1">
          <a:blip r:embed="rId2">
            <a:extLst>
              <a:ext uri="{28A0092B-C50C-407E-A947-70E740481C1C}">
                <a14:useLocalDpi xmlns:a14="http://schemas.microsoft.com/office/drawing/2010/main" val="0"/>
              </a:ext>
            </a:extLst>
          </a:blip>
          <a:srcRect t="1205" b="1656"/>
          <a:stretch/>
        </p:blipFill>
        <p:spPr>
          <a:xfrm>
            <a:off x="3767548" y="0"/>
            <a:ext cx="8442371" cy="6858000"/>
          </a:xfrm>
          <a:prstGeom prst="rect">
            <a:avLst/>
          </a:prstGeom>
        </p:spPr>
      </p:pic>
      <p:sp>
        <p:nvSpPr>
          <p:cNvPr id="39" name="Picture Placeholder 9">
            <a:extLst>
              <a:ext uri="{C183D7F6-B498-43B3-948B-1728B52AA6E4}">
                <adec:decorative xmlns:adec="http://schemas.microsoft.com/office/drawing/2017/decorative" val="1"/>
              </a:ext>
            </a:extLst>
          </p:cNvPr>
          <p:cNvSpPr>
            <a:spLocks noGrp="1"/>
          </p:cNvSpPr>
          <p:nvPr>
            <p:ph type="pic" sz="quarter" idx="10"/>
          </p:nvPr>
        </p:nvSpPr>
        <p:spPr>
          <a:xfrm>
            <a:off x="6057957" y="-10632"/>
            <a:ext cx="6141447" cy="6876034"/>
          </a:xfrm>
          <a:custGeom>
            <a:avLst/>
            <a:gdLst>
              <a:gd name="connsiteX0" fmla="*/ 0 w 6137275"/>
              <a:gd name="connsiteY0" fmla="*/ 1534319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0 w 6137275"/>
              <a:gd name="connsiteY12" fmla="*/ 1534319 h 6858000"/>
              <a:gd name="connsiteX0" fmla="*/ 489098 w 6137275"/>
              <a:gd name="connsiteY0" fmla="*/ 715612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489098 w 6137275"/>
              <a:gd name="connsiteY12" fmla="*/ 715612 h 6858000"/>
              <a:gd name="connsiteX0" fmla="*/ 0 w 5648177"/>
              <a:gd name="connsiteY0" fmla="*/ 715612 h 6858000"/>
              <a:gd name="connsiteX1" fmla="*/ 1045221 w 5648177"/>
              <a:gd name="connsiteY1" fmla="*/ 1534319 h 6858000"/>
              <a:gd name="connsiteX2" fmla="*/ 1045221 w 5648177"/>
              <a:gd name="connsiteY2" fmla="*/ 0 h 6858000"/>
              <a:gd name="connsiteX3" fmla="*/ 4113858 w 5648177"/>
              <a:gd name="connsiteY3" fmla="*/ 0 h 6858000"/>
              <a:gd name="connsiteX4" fmla="*/ 4113858 w 5648177"/>
              <a:gd name="connsiteY4" fmla="*/ 1534319 h 6858000"/>
              <a:gd name="connsiteX5" fmla="*/ 5648177 w 5648177"/>
              <a:gd name="connsiteY5" fmla="*/ 1534319 h 6858000"/>
              <a:gd name="connsiteX6" fmla="*/ 5648177 w 5648177"/>
              <a:gd name="connsiteY6" fmla="*/ 5323681 h 6858000"/>
              <a:gd name="connsiteX7" fmla="*/ 4113858 w 5648177"/>
              <a:gd name="connsiteY7" fmla="*/ 5323681 h 6858000"/>
              <a:gd name="connsiteX8" fmla="*/ 4113858 w 5648177"/>
              <a:gd name="connsiteY8" fmla="*/ 6858000 h 6858000"/>
              <a:gd name="connsiteX9" fmla="*/ 1045221 w 5648177"/>
              <a:gd name="connsiteY9" fmla="*/ 6858000 h 6858000"/>
              <a:gd name="connsiteX10" fmla="*/ 1045221 w 5648177"/>
              <a:gd name="connsiteY10" fmla="*/ 5323681 h 6858000"/>
              <a:gd name="connsiteX11" fmla="*/ 10632 w 5648177"/>
              <a:gd name="connsiteY11" fmla="*/ 6131755 h 6858000"/>
              <a:gd name="connsiteX12" fmla="*/ 0 w 5648177"/>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531089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96500 w 6144677"/>
              <a:gd name="connsiteY0" fmla="*/ 715612 h 6858000"/>
              <a:gd name="connsiteX1" fmla="*/ 0 w 6144677"/>
              <a:gd name="connsiteY1" fmla="*/ 715612 h 6858000"/>
              <a:gd name="connsiteX2" fmla="*/ 1541721 w 6144677"/>
              <a:gd name="connsiteY2" fmla="*/ 0 h 6858000"/>
              <a:gd name="connsiteX3" fmla="*/ 4610358 w 6144677"/>
              <a:gd name="connsiteY3" fmla="*/ 0 h 6858000"/>
              <a:gd name="connsiteX4" fmla="*/ 4610358 w 6144677"/>
              <a:gd name="connsiteY4" fmla="*/ 1534319 h 6858000"/>
              <a:gd name="connsiteX5" fmla="*/ 6144677 w 6144677"/>
              <a:gd name="connsiteY5" fmla="*/ 1534319 h 6858000"/>
              <a:gd name="connsiteX6" fmla="*/ 6144677 w 6144677"/>
              <a:gd name="connsiteY6" fmla="*/ 5323681 h 6858000"/>
              <a:gd name="connsiteX7" fmla="*/ 4610358 w 6144677"/>
              <a:gd name="connsiteY7" fmla="*/ 5323681 h 6858000"/>
              <a:gd name="connsiteX8" fmla="*/ 4610358 w 6144677"/>
              <a:gd name="connsiteY8" fmla="*/ 6858000 h 6858000"/>
              <a:gd name="connsiteX9" fmla="*/ 10633 w 6144677"/>
              <a:gd name="connsiteY9" fmla="*/ 6858000 h 6858000"/>
              <a:gd name="connsiteX10" fmla="*/ 10632 w 6144677"/>
              <a:gd name="connsiteY10" fmla="*/ 6131755 h 6858000"/>
              <a:gd name="connsiteX11" fmla="*/ 507132 w 6144677"/>
              <a:gd name="connsiteY11" fmla="*/ 6131755 h 6858000"/>
              <a:gd name="connsiteX12" fmla="*/ 496500 w 6144677"/>
              <a:gd name="connsiteY12" fmla="*/ 715612 h 6858000"/>
              <a:gd name="connsiteX0" fmla="*/ 496500 w 6144677"/>
              <a:gd name="connsiteY0" fmla="*/ 736877 h 6879265"/>
              <a:gd name="connsiteX1" fmla="*/ 0 w 6144677"/>
              <a:gd name="connsiteY1" fmla="*/ 736877 h 6879265"/>
              <a:gd name="connsiteX2" fmla="*/ 10633 w 6144677"/>
              <a:gd name="connsiteY2" fmla="*/ 0 h 6879265"/>
              <a:gd name="connsiteX3" fmla="*/ 4610358 w 6144677"/>
              <a:gd name="connsiteY3" fmla="*/ 21265 h 6879265"/>
              <a:gd name="connsiteX4" fmla="*/ 4610358 w 6144677"/>
              <a:gd name="connsiteY4" fmla="*/ 1555584 h 6879265"/>
              <a:gd name="connsiteX5" fmla="*/ 6144677 w 6144677"/>
              <a:gd name="connsiteY5" fmla="*/ 1555584 h 6879265"/>
              <a:gd name="connsiteX6" fmla="*/ 6144677 w 6144677"/>
              <a:gd name="connsiteY6" fmla="*/ 5344946 h 6879265"/>
              <a:gd name="connsiteX7" fmla="*/ 4610358 w 6144677"/>
              <a:gd name="connsiteY7" fmla="*/ 5344946 h 6879265"/>
              <a:gd name="connsiteX8" fmla="*/ 4610358 w 6144677"/>
              <a:gd name="connsiteY8" fmla="*/ 6879265 h 6879265"/>
              <a:gd name="connsiteX9" fmla="*/ 10633 w 6144677"/>
              <a:gd name="connsiteY9" fmla="*/ 6879265 h 6879265"/>
              <a:gd name="connsiteX10" fmla="*/ 10632 w 6144677"/>
              <a:gd name="connsiteY10" fmla="*/ 6153020 h 6879265"/>
              <a:gd name="connsiteX11" fmla="*/ 507132 w 6144677"/>
              <a:gd name="connsiteY11" fmla="*/ 6153020 h 6879265"/>
              <a:gd name="connsiteX12" fmla="*/ 496500 w 6144677"/>
              <a:gd name="connsiteY12" fmla="*/ 736877 h 6879265"/>
              <a:gd name="connsiteX0" fmla="*/ 496500 w 6144677"/>
              <a:gd name="connsiteY0" fmla="*/ 726244 h 6868632"/>
              <a:gd name="connsiteX1" fmla="*/ 0 w 6144677"/>
              <a:gd name="connsiteY1" fmla="*/ 726244 h 6868632"/>
              <a:gd name="connsiteX2" fmla="*/ 10633 w 6144677"/>
              <a:gd name="connsiteY2" fmla="*/ 0 h 6868632"/>
              <a:gd name="connsiteX3" fmla="*/ 4610358 w 6144677"/>
              <a:gd name="connsiteY3" fmla="*/ 10632 h 6868632"/>
              <a:gd name="connsiteX4" fmla="*/ 4610358 w 6144677"/>
              <a:gd name="connsiteY4" fmla="*/ 1544951 h 6868632"/>
              <a:gd name="connsiteX5" fmla="*/ 6144677 w 6144677"/>
              <a:gd name="connsiteY5" fmla="*/ 1544951 h 6868632"/>
              <a:gd name="connsiteX6" fmla="*/ 6144677 w 6144677"/>
              <a:gd name="connsiteY6" fmla="*/ 5334313 h 6868632"/>
              <a:gd name="connsiteX7" fmla="*/ 4610358 w 6144677"/>
              <a:gd name="connsiteY7" fmla="*/ 5334313 h 6868632"/>
              <a:gd name="connsiteX8" fmla="*/ 4610358 w 6144677"/>
              <a:gd name="connsiteY8" fmla="*/ 6868632 h 6868632"/>
              <a:gd name="connsiteX9" fmla="*/ 10633 w 6144677"/>
              <a:gd name="connsiteY9" fmla="*/ 6868632 h 6868632"/>
              <a:gd name="connsiteX10" fmla="*/ 10632 w 6144677"/>
              <a:gd name="connsiteY10" fmla="*/ 6142387 h 6868632"/>
              <a:gd name="connsiteX11" fmla="*/ 507132 w 6144677"/>
              <a:gd name="connsiteY11" fmla="*/ 6142387 h 6868632"/>
              <a:gd name="connsiteX12" fmla="*/ 496500 w 6144677"/>
              <a:gd name="connsiteY12" fmla="*/ 726244 h 6868632"/>
              <a:gd name="connsiteX0" fmla="*/ 485868 w 6134045"/>
              <a:gd name="connsiteY0" fmla="*/ 726244 h 6868632"/>
              <a:gd name="connsiteX1" fmla="*/ 10634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34045"/>
              <a:gd name="connsiteY0" fmla="*/ 726244 h 6868632"/>
              <a:gd name="connsiteX1" fmla="*/ 2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41447"/>
              <a:gd name="connsiteY0" fmla="*/ 726244 h 6868632"/>
              <a:gd name="connsiteX1" fmla="*/ 2 w 6141447"/>
              <a:gd name="connsiteY1" fmla="*/ 726244 h 6868632"/>
              <a:gd name="connsiteX2" fmla="*/ 1 w 6141447"/>
              <a:gd name="connsiteY2" fmla="*/ 0 h 6868632"/>
              <a:gd name="connsiteX3" fmla="*/ 4599726 w 6141447"/>
              <a:gd name="connsiteY3" fmla="*/ 10632 h 6868632"/>
              <a:gd name="connsiteX4" fmla="*/ 6141447 w 6141447"/>
              <a:gd name="connsiteY4" fmla="*/ 24495 h 6868632"/>
              <a:gd name="connsiteX5" fmla="*/ 6134045 w 6141447"/>
              <a:gd name="connsiteY5" fmla="*/ 1544951 h 6868632"/>
              <a:gd name="connsiteX6" fmla="*/ 6134045 w 6141447"/>
              <a:gd name="connsiteY6" fmla="*/ 5334313 h 6868632"/>
              <a:gd name="connsiteX7" fmla="*/ 4599726 w 6141447"/>
              <a:gd name="connsiteY7" fmla="*/ 5334313 h 6868632"/>
              <a:gd name="connsiteX8" fmla="*/ 4599726 w 6141447"/>
              <a:gd name="connsiteY8" fmla="*/ 6868632 h 6868632"/>
              <a:gd name="connsiteX9" fmla="*/ 1 w 6141447"/>
              <a:gd name="connsiteY9" fmla="*/ 6868632 h 6868632"/>
              <a:gd name="connsiteX10" fmla="*/ 0 w 6141447"/>
              <a:gd name="connsiteY10" fmla="*/ 6142387 h 6868632"/>
              <a:gd name="connsiteX11" fmla="*/ 496500 w 6141447"/>
              <a:gd name="connsiteY11" fmla="*/ 6142387 h 6868632"/>
              <a:gd name="connsiteX12" fmla="*/ 485868 w 6141447"/>
              <a:gd name="connsiteY12" fmla="*/ 726244 h 6868632"/>
              <a:gd name="connsiteX0" fmla="*/ 485868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485868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34953 h 6876034"/>
              <a:gd name="connsiteX0" fmla="*/ 849299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49299 w 6141447"/>
              <a:gd name="connsiteY12" fmla="*/ 734953 h 68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1447" h="6876034">
                <a:moveTo>
                  <a:pt x="849299" y="734953"/>
                </a:moveTo>
                <a:lnTo>
                  <a:pt x="2" y="734953"/>
                </a:lnTo>
                <a:cubicBezTo>
                  <a:pt x="2" y="492872"/>
                  <a:pt x="1" y="242081"/>
                  <a:pt x="1" y="0"/>
                </a:cubicBezTo>
                <a:lnTo>
                  <a:pt x="4599726" y="10632"/>
                </a:lnTo>
                <a:lnTo>
                  <a:pt x="6141447" y="24495"/>
                </a:lnTo>
                <a:cubicBezTo>
                  <a:pt x="6138980" y="531314"/>
                  <a:pt x="6136512" y="1038132"/>
                  <a:pt x="6134045" y="1544951"/>
                </a:cubicBezTo>
                <a:lnTo>
                  <a:pt x="6134045" y="5334313"/>
                </a:lnTo>
                <a:cubicBezTo>
                  <a:pt x="6136512" y="5848220"/>
                  <a:pt x="6138980" y="6362127"/>
                  <a:pt x="6141447" y="6876034"/>
                </a:cubicBezTo>
                <a:lnTo>
                  <a:pt x="4599726" y="6868632"/>
                </a:lnTo>
                <a:lnTo>
                  <a:pt x="1" y="6868632"/>
                </a:lnTo>
                <a:cubicBezTo>
                  <a:pt x="1" y="6626550"/>
                  <a:pt x="0" y="6384469"/>
                  <a:pt x="0" y="6142387"/>
                </a:cubicBezTo>
                <a:lnTo>
                  <a:pt x="847374" y="6142387"/>
                </a:lnTo>
                <a:cubicBezTo>
                  <a:pt x="850918" y="4337006"/>
                  <a:pt x="845755" y="2540334"/>
                  <a:pt x="849299" y="734953"/>
                </a:cubicBezTo>
                <a:close/>
              </a:path>
            </a:pathLst>
          </a:custGeom>
        </p:spPr>
        <p:txBody>
          <a:bodyPr/>
          <a:lstStyle/>
          <a:p>
            <a:endParaRPr lang="en-US"/>
          </a:p>
        </p:txBody>
      </p:sp>
      <p:grpSp>
        <p:nvGrpSpPr>
          <p:cNvPr id="40" name="Group 39"/>
          <p:cNvGrpSpPr/>
          <p:nvPr userDrawn="1"/>
        </p:nvGrpSpPr>
        <p:grpSpPr>
          <a:xfrm>
            <a:off x="1483325" y="0"/>
            <a:ext cx="4572003" cy="6858000"/>
            <a:chOff x="0" y="0"/>
            <a:chExt cx="4572002" cy="6858000"/>
          </a:xfrm>
        </p:grpSpPr>
        <p:sp>
          <p:nvSpPr>
            <p:cNvPr id="41" name="Rectangle 4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grpSp>
        <p:nvGrpSpPr>
          <p:cNvPr id="43" name="Group 42"/>
          <p:cNvGrpSpPr/>
          <p:nvPr userDrawn="1"/>
        </p:nvGrpSpPr>
        <p:grpSpPr>
          <a:xfrm>
            <a:off x="0" y="0"/>
            <a:ext cx="4572003" cy="6858000"/>
            <a:chOff x="0" y="0"/>
            <a:chExt cx="4572002" cy="6858000"/>
          </a:xfrm>
        </p:grpSpPr>
        <p:sp>
          <p:nvSpPr>
            <p:cNvPr id="44" name="Rectangle 43"/>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sp>
        <p:nvSpPr>
          <p:cNvPr id="46" name="Rectangle 45"/>
          <p:cNvSpPr/>
          <p:nvPr userDrawn="1"/>
        </p:nvSpPr>
        <p:spPr>
          <a:xfrm>
            <a:off x="1031359" y="723900"/>
            <a:ext cx="5879805" cy="5410200"/>
          </a:xfrm>
          <a:prstGeom prst="rect">
            <a:avLst/>
          </a:prstGeom>
          <a:solidFill>
            <a:schemeClr val="bg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 </a:t>
            </a:r>
          </a:p>
        </p:txBody>
      </p:sp>
      <p:sp>
        <p:nvSpPr>
          <p:cNvPr id="49" name="Title 1"/>
          <p:cNvSpPr>
            <a:spLocks noGrp="1"/>
          </p:cNvSpPr>
          <p:nvPr>
            <p:ph type="title"/>
          </p:nvPr>
        </p:nvSpPr>
        <p:spPr>
          <a:xfrm>
            <a:off x="1818169" y="1300440"/>
            <a:ext cx="4391247" cy="1046987"/>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47" name="Oval 46"/>
          <p:cNvSpPr>
            <a:spLocks noChangeAspect="1"/>
          </p:cNvSpPr>
          <p:nvPr userDrawn="1"/>
        </p:nvSpPr>
        <p:spPr>
          <a:xfrm>
            <a:off x="659171" y="1153553"/>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52" name="Picture Placeholder 2"/>
          <p:cNvSpPr>
            <a:spLocks noGrp="1"/>
          </p:cNvSpPr>
          <p:nvPr>
            <p:ph type="pic" sz="quarter" idx="11" hasCustomPrompt="1"/>
          </p:nvPr>
        </p:nvSpPr>
        <p:spPr>
          <a:xfrm>
            <a:off x="804877" y="1294946"/>
            <a:ext cx="504121" cy="504122"/>
          </a:xfrm>
        </p:spPr>
        <p:txBody>
          <a:bodyPr anchor="ctr" anchorCtr="0">
            <a:noAutofit/>
          </a:bodyPr>
          <a:lstStyle>
            <a:lvl1pPr marL="0" indent="0" algn="ctr">
              <a:buNone/>
              <a:defRPr sz="800"/>
            </a:lvl1pPr>
          </a:lstStyle>
          <a:p>
            <a:r>
              <a:rPr lang="en-US"/>
              <a:t>Icon image</a:t>
            </a:r>
          </a:p>
        </p:txBody>
      </p:sp>
      <p:sp>
        <p:nvSpPr>
          <p:cNvPr id="48" name="Content Placeholder 2"/>
          <p:cNvSpPr>
            <a:spLocks noGrp="1"/>
          </p:cNvSpPr>
          <p:nvPr>
            <p:ph idx="1" hasCustomPrompt="1"/>
          </p:nvPr>
        </p:nvSpPr>
        <p:spPr>
          <a:xfrm>
            <a:off x="1818169" y="2519265"/>
            <a:ext cx="4391247" cy="3442996"/>
          </a:xfrm>
        </p:spPr>
        <p:txBody>
          <a:bodyPr anchor="t" anchorCtr="0">
            <a:normAutofit/>
          </a:bodyPr>
          <a:lstStyle>
            <a:lvl1pPr marL="228594" indent="-228594">
              <a:buClr>
                <a:srgbClr val="DC4405"/>
              </a:buClr>
              <a:buFont typeface="Courier New" panose="02070309020205020404" pitchFamily="49" charset="0"/>
              <a:buChar char="o"/>
              <a:defRPr sz="2000">
                <a:solidFill>
                  <a:schemeClr val="tx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a:solidFill>
                  <a:schemeClr val="tx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a:solidFill>
                  <a:schemeClr val="tx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a:solidFill>
                  <a:schemeClr val="tx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892127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No Logo">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5AA2BD2-1AB7-4F10-AB88-AE04135DE577}"/>
              </a:ext>
            </a:extLst>
          </p:cNvPr>
          <p:cNvCxnSpPr/>
          <p:nvPr userDrawn="1"/>
        </p:nvCxnSpPr>
        <p:spPr>
          <a:xfrm flipV="1">
            <a:off x="435684" y="887604"/>
            <a:ext cx="11230984" cy="1"/>
          </a:xfrm>
          <a:prstGeom prst="line">
            <a:avLst/>
          </a:prstGeom>
          <a:ln>
            <a:solidFill>
              <a:schemeClr val="accent1"/>
            </a:solidFill>
          </a:ln>
        </p:spPr>
        <p:style>
          <a:lnRef idx="3">
            <a:schemeClr val="accent2"/>
          </a:lnRef>
          <a:fillRef idx="0">
            <a:schemeClr val="accent2"/>
          </a:fillRef>
          <a:effectRef idx="2">
            <a:schemeClr val="accent2"/>
          </a:effectRef>
          <a:fontRef idx="minor">
            <a:schemeClr val="tx1"/>
          </a:fontRef>
        </p:style>
      </p:cxnSp>
      <p:sp>
        <p:nvSpPr>
          <p:cNvPr id="5" name="Slide Number Placeholder 9">
            <a:extLst>
              <a:ext uri="{FF2B5EF4-FFF2-40B4-BE49-F238E27FC236}">
                <a16:creationId xmlns:a16="http://schemas.microsoft.com/office/drawing/2014/main" id="{280519D3-85A3-41CB-93DB-F30C5D7964FE}"/>
              </a:ext>
            </a:extLst>
          </p:cNvPr>
          <p:cNvSpPr txBox="1">
            <a:spLocks/>
          </p:cNvSpPr>
          <p:nvPr userDrawn="1"/>
        </p:nvSpPr>
        <p:spPr>
          <a:xfrm>
            <a:off x="435685" y="6217229"/>
            <a:ext cx="3155106" cy="365125"/>
          </a:xfrm>
          <a:prstGeom prst="rect">
            <a:avLst/>
          </a:prstGeom>
        </p:spPr>
        <p:txBody>
          <a:bodyPr vert="horz" lIns="80682" tIns="40341" rIns="80682" bIns="40341" rtlCol="0" anchor="b"/>
          <a:lstStyle>
            <a:defPPr>
              <a:defRPr lang="en-US"/>
            </a:defPPr>
            <a:lvl1pPr marL="0" algn="r" defTabSz="1018824" rtl="0" eaLnBrk="1" latinLnBrk="0" hangingPunct="1">
              <a:defRPr sz="1100" kern="1200">
                <a:solidFill>
                  <a:schemeClr val="tx1">
                    <a:lumMod val="65000"/>
                    <a:lumOff val="35000"/>
                  </a:schemeClr>
                </a:solidFill>
                <a:latin typeface="+mn-lt"/>
                <a:ea typeface="+mn-ea"/>
                <a:cs typeface="+mn-cs"/>
              </a:defRPr>
            </a:lvl1pPr>
            <a:lvl2pPr marL="509412" algn="l" defTabSz="1018824" rtl="0" eaLnBrk="1" latinLnBrk="0" hangingPunct="1">
              <a:defRPr sz="2006" kern="1200">
                <a:solidFill>
                  <a:schemeClr val="tx1"/>
                </a:solidFill>
                <a:latin typeface="+mn-lt"/>
                <a:ea typeface="+mn-ea"/>
                <a:cs typeface="+mn-cs"/>
              </a:defRPr>
            </a:lvl2pPr>
            <a:lvl3pPr marL="1018824" algn="l" defTabSz="1018824" rtl="0" eaLnBrk="1" latinLnBrk="0" hangingPunct="1">
              <a:defRPr sz="2006" kern="1200">
                <a:solidFill>
                  <a:schemeClr val="tx1"/>
                </a:solidFill>
                <a:latin typeface="+mn-lt"/>
                <a:ea typeface="+mn-ea"/>
                <a:cs typeface="+mn-cs"/>
              </a:defRPr>
            </a:lvl3pPr>
            <a:lvl4pPr marL="1528237" algn="l" defTabSz="1018824" rtl="0" eaLnBrk="1" latinLnBrk="0" hangingPunct="1">
              <a:defRPr sz="2006" kern="1200">
                <a:solidFill>
                  <a:schemeClr val="tx1"/>
                </a:solidFill>
                <a:latin typeface="+mn-lt"/>
                <a:ea typeface="+mn-ea"/>
                <a:cs typeface="+mn-cs"/>
              </a:defRPr>
            </a:lvl4pPr>
            <a:lvl5pPr marL="2037649" algn="l" defTabSz="1018824" rtl="0" eaLnBrk="1" latinLnBrk="0" hangingPunct="1">
              <a:defRPr sz="2006" kern="1200">
                <a:solidFill>
                  <a:schemeClr val="tx1"/>
                </a:solidFill>
                <a:latin typeface="+mn-lt"/>
                <a:ea typeface="+mn-ea"/>
                <a:cs typeface="+mn-cs"/>
              </a:defRPr>
            </a:lvl5pPr>
            <a:lvl6pPr marL="2547061" algn="l" defTabSz="1018824" rtl="0" eaLnBrk="1" latinLnBrk="0" hangingPunct="1">
              <a:defRPr sz="2006" kern="1200">
                <a:solidFill>
                  <a:schemeClr val="tx1"/>
                </a:solidFill>
                <a:latin typeface="+mn-lt"/>
                <a:ea typeface="+mn-ea"/>
                <a:cs typeface="+mn-cs"/>
              </a:defRPr>
            </a:lvl6pPr>
            <a:lvl7pPr marL="3056473" algn="l" defTabSz="1018824" rtl="0" eaLnBrk="1" latinLnBrk="0" hangingPunct="1">
              <a:defRPr sz="2006" kern="1200">
                <a:solidFill>
                  <a:schemeClr val="tx1"/>
                </a:solidFill>
                <a:latin typeface="+mn-lt"/>
                <a:ea typeface="+mn-ea"/>
                <a:cs typeface="+mn-cs"/>
              </a:defRPr>
            </a:lvl7pPr>
            <a:lvl8pPr marL="3565886" algn="l" defTabSz="1018824" rtl="0" eaLnBrk="1" latinLnBrk="0" hangingPunct="1">
              <a:defRPr sz="2006" kern="1200">
                <a:solidFill>
                  <a:schemeClr val="tx1"/>
                </a:solidFill>
                <a:latin typeface="+mn-lt"/>
                <a:ea typeface="+mn-ea"/>
                <a:cs typeface="+mn-cs"/>
              </a:defRPr>
            </a:lvl8pPr>
            <a:lvl9pPr marL="4075298" algn="l" defTabSz="1018824" rtl="0" eaLnBrk="1" latinLnBrk="0" hangingPunct="1">
              <a:defRPr sz="2006" kern="1200">
                <a:solidFill>
                  <a:schemeClr val="tx1"/>
                </a:solidFill>
                <a:latin typeface="+mn-lt"/>
                <a:ea typeface="+mn-ea"/>
                <a:cs typeface="+mn-cs"/>
              </a:defRPr>
            </a:lvl9pPr>
          </a:lstStyle>
          <a:p>
            <a:pPr algn="l"/>
            <a:fld id="{6DD228F5-9231-4F25-BD61-3BF7A2077253}" type="slidenum">
              <a:rPr lang="en-US" sz="882" smtClean="0">
                <a:solidFill>
                  <a:schemeClr val="bg1">
                    <a:lumMod val="50000"/>
                  </a:schemeClr>
                </a:solidFill>
              </a:rPr>
              <a:pPr algn="l"/>
              <a:t>‹#›</a:t>
            </a:fld>
            <a:endParaRPr lang="en-US" sz="882">
              <a:solidFill>
                <a:schemeClr val="bg1">
                  <a:lumMod val="50000"/>
                </a:schemeClr>
              </a:solidFill>
            </a:endParaRPr>
          </a:p>
        </p:txBody>
      </p:sp>
      <p:sp>
        <p:nvSpPr>
          <p:cNvPr id="8" name="Title Placeholder 1">
            <a:extLst>
              <a:ext uri="{FF2B5EF4-FFF2-40B4-BE49-F238E27FC236}">
                <a16:creationId xmlns:a16="http://schemas.microsoft.com/office/drawing/2014/main" id="{06CEE249-AFA4-44D7-BD4A-67EE55EA555E}"/>
              </a:ext>
            </a:extLst>
          </p:cNvPr>
          <p:cNvSpPr>
            <a:spLocks noGrp="1"/>
          </p:cNvSpPr>
          <p:nvPr>
            <p:ph type="title"/>
          </p:nvPr>
        </p:nvSpPr>
        <p:spPr bwMode="gray">
          <a:xfrm>
            <a:off x="403412" y="275645"/>
            <a:ext cx="11263255" cy="623310"/>
          </a:xfrm>
          <a:prstGeom prst="rect">
            <a:avLst/>
          </a:prstGeom>
        </p:spPr>
        <p:txBody>
          <a:bodyPr vert="horz" lIns="0" tIns="0" rIns="0" bIns="0" rtlCol="0" anchor="ctr" anchorCtr="0">
            <a:noAutofit/>
          </a:bodyPr>
          <a:lstStyle/>
          <a:p>
            <a:r>
              <a:rPr lang="en-US" noProof="0"/>
              <a:t>Click to edit Master title style</a:t>
            </a:r>
          </a:p>
        </p:txBody>
      </p:sp>
      <p:sp>
        <p:nvSpPr>
          <p:cNvPr id="9" name="Text Placeholder 18">
            <a:extLst>
              <a:ext uri="{FF2B5EF4-FFF2-40B4-BE49-F238E27FC236}">
                <a16:creationId xmlns:a16="http://schemas.microsoft.com/office/drawing/2014/main" id="{CED87AB6-A4C6-4A01-8C4F-F752FB9B153D}"/>
              </a:ext>
            </a:extLst>
          </p:cNvPr>
          <p:cNvSpPr>
            <a:spLocks noGrp="1"/>
          </p:cNvSpPr>
          <p:nvPr>
            <p:ph idx="1"/>
          </p:nvPr>
        </p:nvSpPr>
        <p:spPr>
          <a:xfrm>
            <a:off x="403412" y="1097280"/>
            <a:ext cx="11263255" cy="5485074"/>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97770186"/>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39478160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1F9CB-C2DB-C85A-61CE-346DC6315D65}"/>
              </a:ext>
            </a:extLst>
          </p:cNvPr>
          <p:cNvSpPr>
            <a:spLocks noGrp="1"/>
          </p:cNvSpPr>
          <p:nvPr>
            <p:ph type="title"/>
          </p:nvPr>
        </p:nvSpPr>
        <p:spPr>
          <a:xfrm>
            <a:off x="838200" y="365125"/>
            <a:ext cx="10515600" cy="773333"/>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0BFAABF4-732E-B73D-B552-B89AC3994A0A}"/>
              </a:ext>
            </a:extLst>
          </p:cNvPr>
          <p:cNvSpPr>
            <a:spLocks noGrp="1"/>
          </p:cNvSpPr>
          <p:nvPr>
            <p:ph type="body" sz="quarter" idx="10"/>
          </p:nvPr>
        </p:nvSpPr>
        <p:spPr>
          <a:xfrm>
            <a:off x="884394" y="1350406"/>
            <a:ext cx="10469406" cy="488083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64156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12920439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65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5B79704-5898-4372-9E64-B59CF90CFD13}" type="datetimeFigureOut">
              <a:rPr lang="en-US" smtClean="0"/>
              <a:t>4/16/2026</a:t>
            </a:fld>
            <a:endParaRPr lang="en-US" dirty="0"/>
          </a:p>
        </p:txBody>
      </p:sp>
      <p:sp>
        <p:nvSpPr>
          <p:cNvPr id="6" name="Slide Number Placeholder 5"/>
          <p:cNvSpPr>
            <a:spLocks noGrp="1"/>
          </p:cNvSpPr>
          <p:nvPr>
            <p:ph type="sldNum" sz="quarter" idx="12"/>
          </p:nvPr>
        </p:nvSpPr>
        <p:spPr/>
        <p:txBody>
          <a:bodyPr/>
          <a:lstStyle/>
          <a:p>
            <a:r>
              <a:rPr lang="en-US" dirty="0"/>
              <a:t>| </a:t>
            </a:r>
            <a:fld id="{AAB6004F-53F9-E74D-AC89-56EA63355CB3}"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6796448"/>
      </p:ext>
    </p:extLst>
  </p:cSld>
  <p:clrMapOvr>
    <a:masterClrMapping/>
  </p:clrMapOvr>
  <p:hf sldNum="0" hd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B79704-5898-4372-9E64-B59CF90CFD13}" type="datetimeFigureOut">
              <a:rPr lang="en-US" smtClean="0"/>
              <a:t>4/16/2026</a:t>
            </a:fld>
            <a:endParaRPr lang="en-US" dirty="0"/>
          </a:p>
        </p:txBody>
      </p:sp>
      <p:sp>
        <p:nvSpPr>
          <p:cNvPr id="5" name="Footer Placeholder 4"/>
          <p:cNvSpPr>
            <a:spLocks noGrp="1"/>
          </p:cNvSpPr>
          <p:nvPr>
            <p:ph type="ftr" sz="quarter" idx="11"/>
          </p:nvPr>
        </p:nvSpPr>
        <p:spPr/>
        <p:txBody>
          <a:bodyPr/>
          <a:lstStyle/>
          <a:p>
            <a:r>
              <a:rPr lang="en-US" dirty="0"/>
              <a:t>Sue Theiss, MA, University Ombuds Office, 2018</a:t>
            </a:r>
          </a:p>
        </p:txBody>
      </p:sp>
      <p:sp>
        <p:nvSpPr>
          <p:cNvPr id="6" name="Slide Number Placeholder 5"/>
          <p:cNvSpPr>
            <a:spLocks noGrp="1"/>
          </p:cNvSpPr>
          <p:nvPr>
            <p:ph type="sldNum" sz="quarter" idx="12"/>
          </p:nvPr>
        </p:nvSpPr>
        <p:spPr/>
        <p:txBody>
          <a:bodyPr/>
          <a:lstStyle/>
          <a:p>
            <a:r>
              <a:rPr lang="en-US" dirty="0"/>
              <a:t>| </a:t>
            </a:r>
            <a:fld id="{AAB6004F-53F9-E74D-AC89-56EA63355CB3}" type="slidenum">
              <a:rPr lang="en-US" smtClean="0"/>
              <a:pPr/>
              <a:t>‹#›</a:t>
            </a:fld>
            <a:endParaRPr lang="en-US" dirty="0"/>
          </a:p>
        </p:txBody>
      </p:sp>
    </p:spTree>
    <p:extLst>
      <p:ext uri="{BB962C8B-B14F-4D97-AF65-F5344CB8AC3E}">
        <p14:creationId xmlns:p14="http://schemas.microsoft.com/office/powerpoint/2010/main" val="3344515039"/>
      </p:ext>
    </p:extLst>
  </p:cSld>
  <p:clrMapOvr>
    <a:masterClrMapping/>
  </p:clrMapOvr>
  <p:hf sldNum="0" hd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5B79704-5898-4372-9E64-B59CF90CFD13}" type="datetimeFigureOut">
              <a:rPr lang="en-US" smtClean="0"/>
              <a:t>4/16/2026</a:t>
            </a:fld>
            <a:endParaRPr lang="en-US" dirty="0"/>
          </a:p>
        </p:txBody>
      </p:sp>
      <p:sp>
        <p:nvSpPr>
          <p:cNvPr id="5" name="Footer Placeholder 4"/>
          <p:cNvSpPr>
            <a:spLocks noGrp="1"/>
          </p:cNvSpPr>
          <p:nvPr>
            <p:ph type="ftr" sz="quarter" idx="11"/>
          </p:nvPr>
        </p:nvSpPr>
        <p:spPr/>
        <p:txBody>
          <a:bodyPr/>
          <a:lstStyle/>
          <a:p>
            <a:r>
              <a:rPr lang="en-US" dirty="0"/>
              <a:t>Sue Theiss, MA, University Ombuds Office, 2018</a:t>
            </a:r>
          </a:p>
        </p:txBody>
      </p:sp>
      <p:sp>
        <p:nvSpPr>
          <p:cNvPr id="6" name="Slide Number Placeholder 5"/>
          <p:cNvSpPr>
            <a:spLocks noGrp="1"/>
          </p:cNvSpPr>
          <p:nvPr>
            <p:ph type="sldNum" sz="quarter" idx="12"/>
          </p:nvPr>
        </p:nvSpPr>
        <p:spPr/>
        <p:txBody>
          <a:bodyPr/>
          <a:lstStyle/>
          <a:p>
            <a:r>
              <a:rPr lang="en-US" dirty="0"/>
              <a:t>| </a:t>
            </a:r>
            <a:fld id="{AAB6004F-53F9-E74D-AC89-56EA63355CB3}"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174056"/>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5B79704-5898-4372-9E64-B59CF90CFD13}" type="datetimeFigureOut">
              <a:rPr lang="en-US" smtClean="0"/>
              <a:t>4/16/2026</a:t>
            </a:fld>
            <a:endParaRPr lang="en-US" dirty="0"/>
          </a:p>
        </p:txBody>
      </p:sp>
      <p:sp>
        <p:nvSpPr>
          <p:cNvPr id="6" name="Footer Placeholder 5"/>
          <p:cNvSpPr>
            <a:spLocks noGrp="1"/>
          </p:cNvSpPr>
          <p:nvPr>
            <p:ph type="ftr" sz="quarter" idx="11"/>
          </p:nvPr>
        </p:nvSpPr>
        <p:spPr/>
        <p:txBody>
          <a:bodyPr/>
          <a:lstStyle/>
          <a:p>
            <a:r>
              <a:rPr lang="en-US" dirty="0"/>
              <a:t>Sue Theiss, MA, University Ombuds Office, 2018</a:t>
            </a:r>
          </a:p>
        </p:txBody>
      </p:sp>
      <p:sp>
        <p:nvSpPr>
          <p:cNvPr id="7" name="Slide Number Placeholder 6"/>
          <p:cNvSpPr>
            <a:spLocks noGrp="1"/>
          </p:cNvSpPr>
          <p:nvPr>
            <p:ph type="sldNum" sz="quarter" idx="12"/>
          </p:nvPr>
        </p:nvSpPr>
        <p:spPr/>
        <p:txBody>
          <a:bodyPr/>
          <a:lstStyle/>
          <a:p>
            <a:r>
              <a:rPr lang="en-US" dirty="0"/>
              <a:t>| </a:t>
            </a:r>
            <a:fld id="{AAB6004F-53F9-E74D-AC89-56EA63355CB3}" type="slidenum">
              <a:rPr lang="en-US" smtClean="0"/>
              <a:pPr/>
              <a:t>‹#›</a:t>
            </a:fld>
            <a:endParaRPr lang="en-US" dirty="0"/>
          </a:p>
        </p:txBody>
      </p:sp>
    </p:spTree>
    <p:extLst>
      <p:ext uri="{BB962C8B-B14F-4D97-AF65-F5344CB8AC3E}">
        <p14:creationId xmlns:p14="http://schemas.microsoft.com/office/powerpoint/2010/main" val="2085514286"/>
      </p:ext>
    </p:extLst>
  </p:cSld>
  <p:clrMapOvr>
    <a:masterClrMapping/>
  </p:clrMapOvr>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5B79704-5898-4372-9E64-B59CF90CFD13}" type="datetimeFigureOut">
              <a:rPr lang="en-US" smtClean="0"/>
              <a:t>4/16/2026</a:t>
            </a:fld>
            <a:endParaRPr lang="en-US" dirty="0"/>
          </a:p>
        </p:txBody>
      </p:sp>
      <p:sp>
        <p:nvSpPr>
          <p:cNvPr id="8" name="Footer Placeholder 7"/>
          <p:cNvSpPr>
            <a:spLocks noGrp="1"/>
          </p:cNvSpPr>
          <p:nvPr>
            <p:ph type="ftr" sz="quarter" idx="11"/>
          </p:nvPr>
        </p:nvSpPr>
        <p:spPr/>
        <p:txBody>
          <a:bodyPr/>
          <a:lstStyle/>
          <a:p>
            <a:r>
              <a:rPr lang="en-US" dirty="0"/>
              <a:t>Sue Theiss, MA, University Ombuds Office, 2018</a:t>
            </a:r>
          </a:p>
        </p:txBody>
      </p:sp>
      <p:sp>
        <p:nvSpPr>
          <p:cNvPr id="9" name="Slide Number Placeholder 8"/>
          <p:cNvSpPr>
            <a:spLocks noGrp="1"/>
          </p:cNvSpPr>
          <p:nvPr>
            <p:ph type="sldNum" sz="quarter" idx="12"/>
          </p:nvPr>
        </p:nvSpPr>
        <p:spPr/>
        <p:txBody>
          <a:bodyPr/>
          <a:lstStyle/>
          <a:p>
            <a:r>
              <a:rPr lang="en-US" dirty="0"/>
              <a:t>| </a:t>
            </a:r>
            <a:fld id="{AAB6004F-53F9-E74D-AC89-56EA63355CB3}" type="slidenum">
              <a:rPr lang="en-US" smtClean="0"/>
              <a:pPr/>
              <a:t>‹#›</a:t>
            </a:fld>
            <a:endParaRPr lang="en-US" dirty="0"/>
          </a:p>
        </p:txBody>
      </p:sp>
    </p:spTree>
    <p:extLst>
      <p:ext uri="{BB962C8B-B14F-4D97-AF65-F5344CB8AC3E}">
        <p14:creationId xmlns:p14="http://schemas.microsoft.com/office/powerpoint/2010/main" val="3492583607"/>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51" name="Picture 50"/>
          <p:cNvPicPr>
            <a:picLocks noChangeAspect="1"/>
          </p:cNvPicPr>
          <p:nvPr userDrawn="1"/>
        </p:nvPicPr>
        <p:blipFill rotWithShape="1">
          <a:blip r:embed="rId2">
            <a:extLst>
              <a:ext uri="{28A0092B-C50C-407E-A947-70E740481C1C}">
                <a14:useLocalDpi xmlns:a14="http://schemas.microsoft.com/office/drawing/2010/main" val="0"/>
              </a:ext>
            </a:extLst>
          </a:blip>
          <a:srcRect t="1205" b="1656"/>
          <a:stretch/>
        </p:blipFill>
        <p:spPr>
          <a:xfrm>
            <a:off x="3767548" y="0"/>
            <a:ext cx="8442371" cy="6858000"/>
          </a:xfrm>
          <a:prstGeom prst="rect">
            <a:avLst/>
          </a:prstGeom>
        </p:spPr>
      </p:pic>
      <p:grpSp>
        <p:nvGrpSpPr>
          <p:cNvPr id="40" name="Group 39"/>
          <p:cNvGrpSpPr/>
          <p:nvPr userDrawn="1"/>
        </p:nvGrpSpPr>
        <p:grpSpPr>
          <a:xfrm>
            <a:off x="1483325" y="0"/>
            <a:ext cx="4572003" cy="6858000"/>
            <a:chOff x="0" y="0"/>
            <a:chExt cx="4572002" cy="6858000"/>
          </a:xfrm>
        </p:grpSpPr>
        <p:sp>
          <p:nvSpPr>
            <p:cNvPr id="41" name="Rectangle 4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grpSp>
        <p:nvGrpSpPr>
          <p:cNvPr id="43" name="Group 42"/>
          <p:cNvGrpSpPr/>
          <p:nvPr userDrawn="1"/>
        </p:nvGrpSpPr>
        <p:grpSpPr>
          <a:xfrm>
            <a:off x="0" y="0"/>
            <a:ext cx="4572003" cy="6858000"/>
            <a:chOff x="0" y="0"/>
            <a:chExt cx="4572002" cy="6858000"/>
          </a:xfrm>
        </p:grpSpPr>
        <p:sp>
          <p:nvSpPr>
            <p:cNvPr id="44" name="Rectangle 43"/>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sp>
        <p:nvSpPr>
          <p:cNvPr id="46" name="Rectangle 45"/>
          <p:cNvSpPr/>
          <p:nvPr userDrawn="1"/>
        </p:nvSpPr>
        <p:spPr>
          <a:xfrm>
            <a:off x="1031359" y="723900"/>
            <a:ext cx="5879805" cy="5410200"/>
          </a:xfrm>
          <a:prstGeom prst="rect">
            <a:avLst/>
          </a:prstGeom>
          <a:solidFill>
            <a:schemeClr val="tx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 </a:t>
            </a:r>
          </a:p>
        </p:txBody>
      </p:sp>
      <p:sp>
        <p:nvSpPr>
          <p:cNvPr id="49" name="Title 1"/>
          <p:cNvSpPr>
            <a:spLocks noGrp="1"/>
          </p:cNvSpPr>
          <p:nvPr>
            <p:ph type="title"/>
          </p:nvPr>
        </p:nvSpPr>
        <p:spPr>
          <a:xfrm>
            <a:off x="1818169" y="1300440"/>
            <a:ext cx="4391247" cy="104698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47" name="Oval 46"/>
          <p:cNvSpPr>
            <a:spLocks noChangeAspect="1"/>
          </p:cNvSpPr>
          <p:nvPr userDrawn="1"/>
        </p:nvSpPr>
        <p:spPr>
          <a:xfrm>
            <a:off x="659171" y="1153553"/>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52" name="Picture Placeholder 2"/>
          <p:cNvSpPr>
            <a:spLocks noGrp="1"/>
          </p:cNvSpPr>
          <p:nvPr>
            <p:ph type="pic" sz="quarter" idx="11" hasCustomPrompt="1"/>
          </p:nvPr>
        </p:nvSpPr>
        <p:spPr>
          <a:xfrm>
            <a:off x="804877" y="1294946"/>
            <a:ext cx="504121" cy="504122"/>
          </a:xfrm>
        </p:spPr>
        <p:txBody>
          <a:bodyPr anchor="ctr" anchorCtr="0">
            <a:noAutofit/>
          </a:bodyPr>
          <a:lstStyle>
            <a:lvl1pPr marL="0" indent="0" algn="ctr">
              <a:buNone/>
              <a:defRPr sz="800"/>
            </a:lvl1pPr>
          </a:lstStyle>
          <a:p>
            <a:r>
              <a:rPr lang="en-US"/>
              <a:t>Icon image</a:t>
            </a:r>
          </a:p>
        </p:txBody>
      </p:sp>
      <p:sp>
        <p:nvSpPr>
          <p:cNvPr id="48" name="Content Placeholder 2"/>
          <p:cNvSpPr>
            <a:spLocks noGrp="1"/>
          </p:cNvSpPr>
          <p:nvPr>
            <p:ph idx="1" hasCustomPrompt="1"/>
          </p:nvPr>
        </p:nvSpPr>
        <p:spPr>
          <a:xfrm>
            <a:off x="1818169" y="2519265"/>
            <a:ext cx="4391247" cy="3442996"/>
          </a:xfrm>
        </p:spPr>
        <p:txBody>
          <a:bodyPr anchor="t" anchorCtr="0">
            <a:normAutofit/>
          </a:bodyPr>
          <a:lstStyle>
            <a:lvl1pPr marL="228594" indent="-228594">
              <a:buClr>
                <a:srgbClr val="DC4405"/>
              </a:buClr>
              <a:buFont typeface="Courier New" panose="02070309020205020404" pitchFamily="49" charset="0"/>
              <a:buChar char="o"/>
              <a:defRPr sz="20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Picture Placeholder 9">
            <a:extLst>
              <a:ext uri="{C183D7F6-B498-43B3-948B-1728B52AA6E4}">
                <adec:decorative xmlns:adec="http://schemas.microsoft.com/office/drawing/2017/decorative" val="1"/>
              </a:ext>
            </a:extLst>
          </p:cNvPr>
          <p:cNvSpPr>
            <a:spLocks noGrp="1"/>
          </p:cNvSpPr>
          <p:nvPr>
            <p:ph type="pic" sz="quarter" idx="10"/>
          </p:nvPr>
        </p:nvSpPr>
        <p:spPr>
          <a:xfrm>
            <a:off x="6057957" y="-10632"/>
            <a:ext cx="6141447" cy="6876034"/>
          </a:xfrm>
          <a:custGeom>
            <a:avLst/>
            <a:gdLst>
              <a:gd name="connsiteX0" fmla="*/ 0 w 6137275"/>
              <a:gd name="connsiteY0" fmla="*/ 1534319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0 w 6137275"/>
              <a:gd name="connsiteY12" fmla="*/ 1534319 h 6858000"/>
              <a:gd name="connsiteX0" fmla="*/ 489098 w 6137275"/>
              <a:gd name="connsiteY0" fmla="*/ 715612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489098 w 6137275"/>
              <a:gd name="connsiteY12" fmla="*/ 715612 h 6858000"/>
              <a:gd name="connsiteX0" fmla="*/ 0 w 5648177"/>
              <a:gd name="connsiteY0" fmla="*/ 715612 h 6858000"/>
              <a:gd name="connsiteX1" fmla="*/ 1045221 w 5648177"/>
              <a:gd name="connsiteY1" fmla="*/ 1534319 h 6858000"/>
              <a:gd name="connsiteX2" fmla="*/ 1045221 w 5648177"/>
              <a:gd name="connsiteY2" fmla="*/ 0 h 6858000"/>
              <a:gd name="connsiteX3" fmla="*/ 4113858 w 5648177"/>
              <a:gd name="connsiteY3" fmla="*/ 0 h 6858000"/>
              <a:gd name="connsiteX4" fmla="*/ 4113858 w 5648177"/>
              <a:gd name="connsiteY4" fmla="*/ 1534319 h 6858000"/>
              <a:gd name="connsiteX5" fmla="*/ 5648177 w 5648177"/>
              <a:gd name="connsiteY5" fmla="*/ 1534319 h 6858000"/>
              <a:gd name="connsiteX6" fmla="*/ 5648177 w 5648177"/>
              <a:gd name="connsiteY6" fmla="*/ 5323681 h 6858000"/>
              <a:gd name="connsiteX7" fmla="*/ 4113858 w 5648177"/>
              <a:gd name="connsiteY7" fmla="*/ 5323681 h 6858000"/>
              <a:gd name="connsiteX8" fmla="*/ 4113858 w 5648177"/>
              <a:gd name="connsiteY8" fmla="*/ 6858000 h 6858000"/>
              <a:gd name="connsiteX9" fmla="*/ 1045221 w 5648177"/>
              <a:gd name="connsiteY9" fmla="*/ 6858000 h 6858000"/>
              <a:gd name="connsiteX10" fmla="*/ 1045221 w 5648177"/>
              <a:gd name="connsiteY10" fmla="*/ 5323681 h 6858000"/>
              <a:gd name="connsiteX11" fmla="*/ 10632 w 5648177"/>
              <a:gd name="connsiteY11" fmla="*/ 6131755 h 6858000"/>
              <a:gd name="connsiteX12" fmla="*/ 0 w 5648177"/>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531089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96500 w 6144677"/>
              <a:gd name="connsiteY0" fmla="*/ 715612 h 6858000"/>
              <a:gd name="connsiteX1" fmla="*/ 0 w 6144677"/>
              <a:gd name="connsiteY1" fmla="*/ 715612 h 6858000"/>
              <a:gd name="connsiteX2" fmla="*/ 1541721 w 6144677"/>
              <a:gd name="connsiteY2" fmla="*/ 0 h 6858000"/>
              <a:gd name="connsiteX3" fmla="*/ 4610358 w 6144677"/>
              <a:gd name="connsiteY3" fmla="*/ 0 h 6858000"/>
              <a:gd name="connsiteX4" fmla="*/ 4610358 w 6144677"/>
              <a:gd name="connsiteY4" fmla="*/ 1534319 h 6858000"/>
              <a:gd name="connsiteX5" fmla="*/ 6144677 w 6144677"/>
              <a:gd name="connsiteY5" fmla="*/ 1534319 h 6858000"/>
              <a:gd name="connsiteX6" fmla="*/ 6144677 w 6144677"/>
              <a:gd name="connsiteY6" fmla="*/ 5323681 h 6858000"/>
              <a:gd name="connsiteX7" fmla="*/ 4610358 w 6144677"/>
              <a:gd name="connsiteY7" fmla="*/ 5323681 h 6858000"/>
              <a:gd name="connsiteX8" fmla="*/ 4610358 w 6144677"/>
              <a:gd name="connsiteY8" fmla="*/ 6858000 h 6858000"/>
              <a:gd name="connsiteX9" fmla="*/ 10633 w 6144677"/>
              <a:gd name="connsiteY9" fmla="*/ 6858000 h 6858000"/>
              <a:gd name="connsiteX10" fmla="*/ 10632 w 6144677"/>
              <a:gd name="connsiteY10" fmla="*/ 6131755 h 6858000"/>
              <a:gd name="connsiteX11" fmla="*/ 507132 w 6144677"/>
              <a:gd name="connsiteY11" fmla="*/ 6131755 h 6858000"/>
              <a:gd name="connsiteX12" fmla="*/ 496500 w 6144677"/>
              <a:gd name="connsiteY12" fmla="*/ 715612 h 6858000"/>
              <a:gd name="connsiteX0" fmla="*/ 496500 w 6144677"/>
              <a:gd name="connsiteY0" fmla="*/ 736877 h 6879265"/>
              <a:gd name="connsiteX1" fmla="*/ 0 w 6144677"/>
              <a:gd name="connsiteY1" fmla="*/ 736877 h 6879265"/>
              <a:gd name="connsiteX2" fmla="*/ 10633 w 6144677"/>
              <a:gd name="connsiteY2" fmla="*/ 0 h 6879265"/>
              <a:gd name="connsiteX3" fmla="*/ 4610358 w 6144677"/>
              <a:gd name="connsiteY3" fmla="*/ 21265 h 6879265"/>
              <a:gd name="connsiteX4" fmla="*/ 4610358 w 6144677"/>
              <a:gd name="connsiteY4" fmla="*/ 1555584 h 6879265"/>
              <a:gd name="connsiteX5" fmla="*/ 6144677 w 6144677"/>
              <a:gd name="connsiteY5" fmla="*/ 1555584 h 6879265"/>
              <a:gd name="connsiteX6" fmla="*/ 6144677 w 6144677"/>
              <a:gd name="connsiteY6" fmla="*/ 5344946 h 6879265"/>
              <a:gd name="connsiteX7" fmla="*/ 4610358 w 6144677"/>
              <a:gd name="connsiteY7" fmla="*/ 5344946 h 6879265"/>
              <a:gd name="connsiteX8" fmla="*/ 4610358 w 6144677"/>
              <a:gd name="connsiteY8" fmla="*/ 6879265 h 6879265"/>
              <a:gd name="connsiteX9" fmla="*/ 10633 w 6144677"/>
              <a:gd name="connsiteY9" fmla="*/ 6879265 h 6879265"/>
              <a:gd name="connsiteX10" fmla="*/ 10632 w 6144677"/>
              <a:gd name="connsiteY10" fmla="*/ 6153020 h 6879265"/>
              <a:gd name="connsiteX11" fmla="*/ 507132 w 6144677"/>
              <a:gd name="connsiteY11" fmla="*/ 6153020 h 6879265"/>
              <a:gd name="connsiteX12" fmla="*/ 496500 w 6144677"/>
              <a:gd name="connsiteY12" fmla="*/ 736877 h 6879265"/>
              <a:gd name="connsiteX0" fmla="*/ 496500 w 6144677"/>
              <a:gd name="connsiteY0" fmla="*/ 726244 h 6868632"/>
              <a:gd name="connsiteX1" fmla="*/ 0 w 6144677"/>
              <a:gd name="connsiteY1" fmla="*/ 726244 h 6868632"/>
              <a:gd name="connsiteX2" fmla="*/ 10633 w 6144677"/>
              <a:gd name="connsiteY2" fmla="*/ 0 h 6868632"/>
              <a:gd name="connsiteX3" fmla="*/ 4610358 w 6144677"/>
              <a:gd name="connsiteY3" fmla="*/ 10632 h 6868632"/>
              <a:gd name="connsiteX4" fmla="*/ 4610358 w 6144677"/>
              <a:gd name="connsiteY4" fmla="*/ 1544951 h 6868632"/>
              <a:gd name="connsiteX5" fmla="*/ 6144677 w 6144677"/>
              <a:gd name="connsiteY5" fmla="*/ 1544951 h 6868632"/>
              <a:gd name="connsiteX6" fmla="*/ 6144677 w 6144677"/>
              <a:gd name="connsiteY6" fmla="*/ 5334313 h 6868632"/>
              <a:gd name="connsiteX7" fmla="*/ 4610358 w 6144677"/>
              <a:gd name="connsiteY7" fmla="*/ 5334313 h 6868632"/>
              <a:gd name="connsiteX8" fmla="*/ 4610358 w 6144677"/>
              <a:gd name="connsiteY8" fmla="*/ 6868632 h 6868632"/>
              <a:gd name="connsiteX9" fmla="*/ 10633 w 6144677"/>
              <a:gd name="connsiteY9" fmla="*/ 6868632 h 6868632"/>
              <a:gd name="connsiteX10" fmla="*/ 10632 w 6144677"/>
              <a:gd name="connsiteY10" fmla="*/ 6142387 h 6868632"/>
              <a:gd name="connsiteX11" fmla="*/ 507132 w 6144677"/>
              <a:gd name="connsiteY11" fmla="*/ 6142387 h 6868632"/>
              <a:gd name="connsiteX12" fmla="*/ 496500 w 6144677"/>
              <a:gd name="connsiteY12" fmla="*/ 726244 h 6868632"/>
              <a:gd name="connsiteX0" fmla="*/ 485868 w 6134045"/>
              <a:gd name="connsiteY0" fmla="*/ 726244 h 6868632"/>
              <a:gd name="connsiteX1" fmla="*/ 10634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34045"/>
              <a:gd name="connsiteY0" fmla="*/ 726244 h 6868632"/>
              <a:gd name="connsiteX1" fmla="*/ 2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41447"/>
              <a:gd name="connsiteY0" fmla="*/ 726244 h 6868632"/>
              <a:gd name="connsiteX1" fmla="*/ 2 w 6141447"/>
              <a:gd name="connsiteY1" fmla="*/ 726244 h 6868632"/>
              <a:gd name="connsiteX2" fmla="*/ 1 w 6141447"/>
              <a:gd name="connsiteY2" fmla="*/ 0 h 6868632"/>
              <a:gd name="connsiteX3" fmla="*/ 4599726 w 6141447"/>
              <a:gd name="connsiteY3" fmla="*/ 10632 h 6868632"/>
              <a:gd name="connsiteX4" fmla="*/ 6141447 w 6141447"/>
              <a:gd name="connsiteY4" fmla="*/ 24495 h 6868632"/>
              <a:gd name="connsiteX5" fmla="*/ 6134045 w 6141447"/>
              <a:gd name="connsiteY5" fmla="*/ 1544951 h 6868632"/>
              <a:gd name="connsiteX6" fmla="*/ 6134045 w 6141447"/>
              <a:gd name="connsiteY6" fmla="*/ 5334313 h 6868632"/>
              <a:gd name="connsiteX7" fmla="*/ 4599726 w 6141447"/>
              <a:gd name="connsiteY7" fmla="*/ 5334313 h 6868632"/>
              <a:gd name="connsiteX8" fmla="*/ 4599726 w 6141447"/>
              <a:gd name="connsiteY8" fmla="*/ 6868632 h 6868632"/>
              <a:gd name="connsiteX9" fmla="*/ 1 w 6141447"/>
              <a:gd name="connsiteY9" fmla="*/ 6868632 h 6868632"/>
              <a:gd name="connsiteX10" fmla="*/ 0 w 6141447"/>
              <a:gd name="connsiteY10" fmla="*/ 6142387 h 6868632"/>
              <a:gd name="connsiteX11" fmla="*/ 496500 w 6141447"/>
              <a:gd name="connsiteY11" fmla="*/ 6142387 h 6868632"/>
              <a:gd name="connsiteX12" fmla="*/ 485868 w 6141447"/>
              <a:gd name="connsiteY12" fmla="*/ 726244 h 6868632"/>
              <a:gd name="connsiteX0" fmla="*/ 485868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485868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34953 h 6876034"/>
              <a:gd name="connsiteX0" fmla="*/ 849299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49299 w 6141447"/>
              <a:gd name="connsiteY12" fmla="*/ 734953 h 68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1447" h="6876034">
                <a:moveTo>
                  <a:pt x="849299" y="734953"/>
                </a:moveTo>
                <a:lnTo>
                  <a:pt x="2" y="734953"/>
                </a:lnTo>
                <a:cubicBezTo>
                  <a:pt x="2" y="492872"/>
                  <a:pt x="1" y="242081"/>
                  <a:pt x="1" y="0"/>
                </a:cubicBezTo>
                <a:lnTo>
                  <a:pt x="4599726" y="10632"/>
                </a:lnTo>
                <a:lnTo>
                  <a:pt x="6141447" y="24495"/>
                </a:lnTo>
                <a:cubicBezTo>
                  <a:pt x="6138980" y="531314"/>
                  <a:pt x="6136512" y="1038132"/>
                  <a:pt x="6134045" y="1544951"/>
                </a:cubicBezTo>
                <a:lnTo>
                  <a:pt x="6134045" y="5334313"/>
                </a:lnTo>
                <a:cubicBezTo>
                  <a:pt x="6136512" y="5848220"/>
                  <a:pt x="6138980" y="6362127"/>
                  <a:pt x="6141447" y="6876034"/>
                </a:cubicBezTo>
                <a:lnTo>
                  <a:pt x="4599726" y="6868632"/>
                </a:lnTo>
                <a:lnTo>
                  <a:pt x="1" y="6868632"/>
                </a:lnTo>
                <a:cubicBezTo>
                  <a:pt x="1" y="6626550"/>
                  <a:pt x="0" y="6384469"/>
                  <a:pt x="0" y="6142387"/>
                </a:cubicBezTo>
                <a:lnTo>
                  <a:pt x="847374" y="6142387"/>
                </a:lnTo>
                <a:cubicBezTo>
                  <a:pt x="850918" y="4337006"/>
                  <a:pt x="845755" y="2540334"/>
                  <a:pt x="849299" y="734953"/>
                </a:cubicBezTo>
                <a:close/>
              </a:path>
            </a:pathLst>
          </a:custGeom>
        </p:spPr>
        <p:txBody>
          <a:bodyPr/>
          <a:lstStyle/>
          <a:p>
            <a:endParaRPr lang="en-US"/>
          </a:p>
        </p:txBody>
      </p:sp>
    </p:spTree>
    <p:extLst>
      <p:ext uri="{BB962C8B-B14F-4D97-AF65-F5344CB8AC3E}">
        <p14:creationId xmlns:p14="http://schemas.microsoft.com/office/powerpoint/2010/main" val="16496426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5B79704-5898-4372-9E64-B59CF90CFD13}" type="datetimeFigureOut">
              <a:rPr lang="en-US" smtClean="0"/>
              <a:t>4/16/2026</a:t>
            </a:fld>
            <a:endParaRPr lang="en-US" dirty="0"/>
          </a:p>
        </p:txBody>
      </p:sp>
      <p:sp>
        <p:nvSpPr>
          <p:cNvPr id="4" name="Footer Placeholder 3"/>
          <p:cNvSpPr>
            <a:spLocks noGrp="1"/>
          </p:cNvSpPr>
          <p:nvPr>
            <p:ph type="ftr" sz="quarter" idx="11"/>
          </p:nvPr>
        </p:nvSpPr>
        <p:spPr/>
        <p:txBody>
          <a:bodyPr/>
          <a:lstStyle/>
          <a:p>
            <a:r>
              <a:rPr lang="en-US" dirty="0"/>
              <a:t>Sue Theiss, MA, University Ombuds Office, 2018</a:t>
            </a:r>
          </a:p>
        </p:txBody>
      </p:sp>
      <p:sp>
        <p:nvSpPr>
          <p:cNvPr id="5" name="Slide Number Placeholder 4"/>
          <p:cNvSpPr>
            <a:spLocks noGrp="1"/>
          </p:cNvSpPr>
          <p:nvPr>
            <p:ph type="sldNum" sz="quarter" idx="12"/>
          </p:nvPr>
        </p:nvSpPr>
        <p:spPr/>
        <p:txBody>
          <a:bodyPr/>
          <a:lstStyle/>
          <a:p>
            <a:r>
              <a:rPr lang="en-US" dirty="0"/>
              <a:t>| </a:t>
            </a:r>
            <a:fld id="{AAB6004F-53F9-E74D-AC89-56EA63355CB3}" type="slidenum">
              <a:rPr lang="en-US" smtClean="0"/>
              <a:pPr/>
              <a:t>‹#›</a:t>
            </a:fld>
            <a:endParaRPr lang="en-US" dirty="0"/>
          </a:p>
        </p:txBody>
      </p:sp>
    </p:spTree>
    <p:extLst>
      <p:ext uri="{BB962C8B-B14F-4D97-AF65-F5344CB8AC3E}">
        <p14:creationId xmlns:p14="http://schemas.microsoft.com/office/powerpoint/2010/main" val="4269364465"/>
      </p:ext>
    </p:extLst>
  </p:cSld>
  <p:clrMapOvr>
    <a:masterClrMapping/>
  </p:clrMapOvr>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7" name="Date Placeholder 6"/>
          <p:cNvSpPr>
            <a:spLocks noGrp="1"/>
          </p:cNvSpPr>
          <p:nvPr>
            <p:ph type="dt" sz="half" idx="10"/>
          </p:nvPr>
        </p:nvSpPr>
        <p:spPr/>
        <p:txBody>
          <a:bodyPr/>
          <a:lstStyle/>
          <a:p>
            <a:fld id="{55B79704-5898-4372-9E64-B59CF90CFD13}" type="datetimeFigureOut">
              <a:rPr lang="en-US" smtClean="0"/>
              <a:t>4/16/2026</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r>
              <a:rPr lang="en-US" dirty="0"/>
              <a:t>Sue Theiss, MA, University Ombuds Office, 2018</a:t>
            </a:r>
          </a:p>
        </p:txBody>
      </p:sp>
      <p:sp>
        <p:nvSpPr>
          <p:cNvPr id="9" name="Slide Number Placeholder 8"/>
          <p:cNvSpPr>
            <a:spLocks noGrp="1"/>
          </p:cNvSpPr>
          <p:nvPr>
            <p:ph type="sldNum" sz="quarter" idx="12"/>
          </p:nvPr>
        </p:nvSpPr>
        <p:spPr/>
        <p:txBody>
          <a:bodyPr/>
          <a:lstStyle/>
          <a:p>
            <a:r>
              <a:rPr lang="en-US" dirty="0"/>
              <a:t>| </a:t>
            </a:r>
            <a:fld id="{AAB6004F-53F9-E74D-AC89-56EA63355CB3}" type="slidenum">
              <a:rPr lang="en-US" smtClean="0"/>
              <a:pPr/>
              <a:t>‹#›</a:t>
            </a:fld>
            <a:endParaRPr lang="en-US" dirty="0"/>
          </a:p>
        </p:txBody>
      </p:sp>
    </p:spTree>
    <p:extLst>
      <p:ext uri="{BB962C8B-B14F-4D97-AF65-F5344CB8AC3E}">
        <p14:creationId xmlns:p14="http://schemas.microsoft.com/office/powerpoint/2010/main" val="442448483"/>
      </p:ext>
    </p:extLst>
  </p:cSld>
  <p:clrMapOvr>
    <a:masterClrMapping/>
  </p:clrMapOvr>
  <p:hf sldNum="0" hd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55B79704-5898-4372-9E64-B59CF90CFD13}" type="datetimeFigureOut">
              <a:rPr lang="en-US" smtClean="0"/>
              <a:t>4/16/2026</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r>
              <a:rPr lang="en-US" dirty="0"/>
              <a:t>Sue Theiss, MA, University Ombuds Office, 2018</a:t>
            </a:r>
          </a:p>
        </p:txBody>
      </p:sp>
      <p:sp>
        <p:nvSpPr>
          <p:cNvPr id="7" name="Slide Number Placeholder 6"/>
          <p:cNvSpPr>
            <a:spLocks noGrp="1"/>
          </p:cNvSpPr>
          <p:nvPr>
            <p:ph type="sldNum" sz="quarter" idx="12"/>
          </p:nvPr>
        </p:nvSpPr>
        <p:spPr/>
        <p:txBody>
          <a:bodyPr/>
          <a:lstStyle>
            <a:lvl1pPr>
              <a:defRPr>
                <a:solidFill>
                  <a:schemeClr val="tx2"/>
                </a:solidFill>
              </a:defRPr>
            </a:lvl1pPr>
          </a:lstStyle>
          <a:p>
            <a:r>
              <a:rPr lang="en-US" dirty="0"/>
              <a:t>| </a:t>
            </a:r>
            <a:fld id="{AAB6004F-53F9-E74D-AC89-56EA63355CB3}" type="slidenum">
              <a:rPr lang="en-US" smtClean="0"/>
              <a:pPr/>
              <a:t>‹#›</a:t>
            </a:fld>
            <a:endParaRPr lang="en-US" dirty="0"/>
          </a:p>
        </p:txBody>
      </p:sp>
    </p:spTree>
    <p:extLst>
      <p:ext uri="{BB962C8B-B14F-4D97-AF65-F5344CB8AC3E}">
        <p14:creationId xmlns:p14="http://schemas.microsoft.com/office/powerpoint/2010/main" val="2313732279"/>
      </p:ext>
    </p:extLst>
  </p:cSld>
  <p:clrMapOvr>
    <a:masterClrMapping/>
  </p:clrMapOvr>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55B79704-5898-4372-9E64-B59CF90CFD13}" type="datetimeFigureOut">
              <a:rPr lang="en-US" smtClean="0"/>
              <a:t>4/16/2026</a:t>
            </a:fld>
            <a:endParaRPr lang="en-US" dirty="0"/>
          </a:p>
        </p:txBody>
      </p:sp>
      <p:sp>
        <p:nvSpPr>
          <p:cNvPr id="6" name="Footer Placeholder 5"/>
          <p:cNvSpPr>
            <a:spLocks noGrp="1"/>
          </p:cNvSpPr>
          <p:nvPr>
            <p:ph type="ftr" sz="quarter" idx="11"/>
          </p:nvPr>
        </p:nvSpPr>
        <p:spPr/>
        <p:txBody>
          <a:bodyPr/>
          <a:lstStyle/>
          <a:p>
            <a:r>
              <a:rPr lang="en-US" dirty="0"/>
              <a:t>Sue Theiss, MA, University Ombuds Office, 2018</a:t>
            </a:r>
          </a:p>
        </p:txBody>
      </p:sp>
      <p:sp>
        <p:nvSpPr>
          <p:cNvPr id="7" name="Slide Number Placeholder 6"/>
          <p:cNvSpPr>
            <a:spLocks noGrp="1"/>
          </p:cNvSpPr>
          <p:nvPr>
            <p:ph type="sldNum" sz="quarter" idx="12"/>
          </p:nvPr>
        </p:nvSpPr>
        <p:spPr/>
        <p:txBody>
          <a:bodyPr/>
          <a:lstStyle/>
          <a:p>
            <a:r>
              <a:rPr lang="en-US" dirty="0"/>
              <a:t>| </a:t>
            </a:r>
            <a:fld id="{AAB6004F-53F9-E74D-AC89-56EA63355CB3}" type="slidenum">
              <a:rPr lang="en-US" smtClean="0"/>
              <a:pPr/>
              <a:t>‹#›</a:t>
            </a:fld>
            <a:endParaRPr lang="en-US" dirty="0"/>
          </a:p>
        </p:txBody>
      </p:sp>
    </p:spTree>
    <p:extLst>
      <p:ext uri="{BB962C8B-B14F-4D97-AF65-F5344CB8AC3E}">
        <p14:creationId xmlns:p14="http://schemas.microsoft.com/office/powerpoint/2010/main" val="644846920"/>
      </p:ext>
    </p:extLst>
  </p:cSld>
  <p:clrMapOvr>
    <a:masterClrMapping/>
  </p:clrMapOvr>
  <p:hf sldNum="0" hdr="0" dt="0"/>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B79704-5898-4372-9E64-B59CF90CFD13}" type="datetimeFigureOut">
              <a:rPr lang="en-US" smtClean="0"/>
              <a:t>4/16/2026</a:t>
            </a:fld>
            <a:endParaRPr lang="en-US" dirty="0"/>
          </a:p>
        </p:txBody>
      </p:sp>
      <p:sp>
        <p:nvSpPr>
          <p:cNvPr id="5" name="Footer Placeholder 4"/>
          <p:cNvSpPr>
            <a:spLocks noGrp="1"/>
          </p:cNvSpPr>
          <p:nvPr>
            <p:ph type="ftr" sz="quarter" idx="11"/>
          </p:nvPr>
        </p:nvSpPr>
        <p:spPr/>
        <p:txBody>
          <a:bodyPr/>
          <a:lstStyle/>
          <a:p>
            <a:r>
              <a:rPr lang="en-US" dirty="0"/>
              <a:t>Sue Theiss, MA, University Ombuds Office, 2018</a:t>
            </a:r>
          </a:p>
        </p:txBody>
      </p:sp>
      <p:sp>
        <p:nvSpPr>
          <p:cNvPr id="6" name="Slide Number Placeholder 5"/>
          <p:cNvSpPr>
            <a:spLocks noGrp="1"/>
          </p:cNvSpPr>
          <p:nvPr>
            <p:ph type="sldNum" sz="quarter" idx="12"/>
          </p:nvPr>
        </p:nvSpPr>
        <p:spPr/>
        <p:txBody>
          <a:bodyPr/>
          <a:lstStyle/>
          <a:p>
            <a:r>
              <a:rPr lang="en-US" dirty="0"/>
              <a:t>| </a:t>
            </a:r>
            <a:fld id="{AAB6004F-53F9-E74D-AC89-56EA63355CB3}" type="slidenum">
              <a:rPr lang="en-US" smtClean="0"/>
              <a:pPr/>
              <a:t>‹#›</a:t>
            </a:fld>
            <a:endParaRPr lang="en-US" dirty="0"/>
          </a:p>
        </p:txBody>
      </p:sp>
    </p:spTree>
    <p:extLst>
      <p:ext uri="{BB962C8B-B14F-4D97-AF65-F5344CB8AC3E}">
        <p14:creationId xmlns:p14="http://schemas.microsoft.com/office/powerpoint/2010/main" val="67304824"/>
      </p:ext>
    </p:extLst>
  </p:cSld>
  <p:clrMapOvr>
    <a:masterClrMapping/>
  </p:clrMapOvr>
  <p:hf sldNum="0" hdr="0" dt="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B79704-5898-4372-9E64-B59CF90CFD13}" type="datetimeFigureOut">
              <a:rPr lang="en-US" smtClean="0"/>
              <a:t>4/16/2026</a:t>
            </a:fld>
            <a:endParaRPr lang="en-US" dirty="0"/>
          </a:p>
        </p:txBody>
      </p:sp>
      <p:sp>
        <p:nvSpPr>
          <p:cNvPr id="5" name="Footer Placeholder 4"/>
          <p:cNvSpPr>
            <a:spLocks noGrp="1"/>
          </p:cNvSpPr>
          <p:nvPr>
            <p:ph type="ftr" sz="quarter" idx="11"/>
          </p:nvPr>
        </p:nvSpPr>
        <p:spPr/>
        <p:txBody>
          <a:bodyPr/>
          <a:lstStyle/>
          <a:p>
            <a:r>
              <a:rPr lang="en-US" dirty="0"/>
              <a:t>Sue Theiss, MA, University Ombuds Office, 2018</a:t>
            </a:r>
          </a:p>
        </p:txBody>
      </p:sp>
      <p:sp>
        <p:nvSpPr>
          <p:cNvPr id="6" name="Slide Number Placeholder 5"/>
          <p:cNvSpPr>
            <a:spLocks noGrp="1"/>
          </p:cNvSpPr>
          <p:nvPr>
            <p:ph type="sldNum" sz="quarter" idx="12"/>
          </p:nvPr>
        </p:nvSpPr>
        <p:spPr/>
        <p:txBody>
          <a:bodyPr/>
          <a:lstStyle/>
          <a:p>
            <a:r>
              <a:rPr lang="en-US" dirty="0"/>
              <a:t>| </a:t>
            </a:r>
            <a:fld id="{AAB6004F-53F9-E74D-AC89-56EA63355CB3}" type="slidenum">
              <a:rPr lang="en-US" smtClean="0"/>
              <a:pPr/>
              <a:t>‹#›</a:t>
            </a:fld>
            <a:endParaRPr lang="en-US" dirty="0"/>
          </a:p>
        </p:txBody>
      </p:sp>
    </p:spTree>
    <p:extLst>
      <p:ext uri="{BB962C8B-B14F-4D97-AF65-F5344CB8AC3E}">
        <p14:creationId xmlns:p14="http://schemas.microsoft.com/office/powerpoint/2010/main" val="599005227"/>
      </p:ext>
    </p:extLst>
  </p:cSld>
  <p:clrMapOvr>
    <a:masterClrMapping/>
  </p:clrMapOvr>
  <p:hf sldNum="0"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 Full Image 1">
    <p:spTree>
      <p:nvGrpSpPr>
        <p:cNvPr id="1" name=""/>
        <p:cNvGrpSpPr/>
        <p:nvPr/>
      </p:nvGrpSpPr>
      <p:grpSpPr>
        <a:xfrm>
          <a:off x="0" y="0"/>
          <a:ext cx="0" cy="0"/>
          <a:chOff x="0" y="0"/>
          <a:chExt cx="0" cy="0"/>
        </a:xfrm>
      </p:grpSpPr>
      <p:sp>
        <p:nvSpPr>
          <p:cNvPr id="11" name="Rectangle 10"/>
          <p:cNvSpPr/>
          <p:nvPr userDrawn="1"/>
        </p:nvSpPr>
        <p:spPr>
          <a:xfrm>
            <a:off x="0" y="0"/>
            <a:ext cx="12192000" cy="55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0" name="Picture Placeholder 9"/>
          <p:cNvSpPr>
            <a:spLocks noGrp="1"/>
          </p:cNvSpPr>
          <p:nvPr>
            <p:ph type="pic" sz="quarter" idx="10" hasCustomPrompt="1"/>
          </p:nvPr>
        </p:nvSpPr>
        <p:spPr>
          <a:xfrm>
            <a:off x="0" y="0"/>
            <a:ext cx="12192000" cy="5588000"/>
          </a:xfrm>
        </p:spPr>
        <p:txBody>
          <a:bodyPr/>
          <a:lstStyle>
            <a:lvl1pPr marL="0" indent="0">
              <a:buNone/>
              <a:defRPr baseline="0">
                <a:solidFill>
                  <a:schemeClr val="bg1">
                    <a:lumMod val="65000"/>
                  </a:schemeClr>
                </a:solidFill>
              </a:defRPr>
            </a:lvl1pPr>
          </a:lstStyle>
          <a:p>
            <a:r>
              <a:rPr lang="en-US" dirty="0"/>
              <a:t>Insert Picture Background</a:t>
            </a:r>
          </a:p>
        </p:txBody>
      </p:sp>
      <p:sp>
        <p:nvSpPr>
          <p:cNvPr id="4" name="Rectangle 3"/>
          <p:cNvSpPr/>
          <p:nvPr userDrawn="1"/>
        </p:nvSpPr>
        <p:spPr>
          <a:xfrm>
            <a:off x="0" y="5587320"/>
            <a:ext cx="12192000" cy="12706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ctrTitle" hasCustomPrompt="1"/>
          </p:nvPr>
        </p:nvSpPr>
        <p:spPr>
          <a:xfrm>
            <a:off x="1066801" y="1637759"/>
            <a:ext cx="5375563" cy="3480716"/>
          </a:xfrm>
        </p:spPr>
        <p:txBody>
          <a:bodyPr wrap="square" lIns="0" tIns="0" rIns="0" bIns="0" anchor="t" anchorCtr="0">
            <a:normAutofit/>
          </a:bodyPr>
          <a:lstStyle>
            <a:lvl1pPr algn="l">
              <a:defRPr sz="4500" cap="all" baseline="0">
                <a:solidFill>
                  <a:srgbClr val="DC4405"/>
                </a:solidFill>
                <a:latin typeface="Stratum2 Bold" charset="0"/>
              </a:defRPr>
            </a:lvl1pPr>
          </a:lstStyle>
          <a:p>
            <a:r>
              <a:rPr lang="en-US" dirty="0"/>
              <a:t>Headline or title of event</a:t>
            </a:r>
          </a:p>
        </p:txBody>
      </p:sp>
      <p:sp>
        <p:nvSpPr>
          <p:cNvPr id="3" name="Subtitle 2"/>
          <p:cNvSpPr>
            <a:spLocks noGrp="1"/>
          </p:cNvSpPr>
          <p:nvPr>
            <p:ph type="subTitle" idx="1" hasCustomPrompt="1"/>
          </p:nvPr>
        </p:nvSpPr>
        <p:spPr>
          <a:xfrm>
            <a:off x="1066801" y="544353"/>
            <a:ext cx="10058400" cy="456108"/>
          </a:xfrm>
        </p:spPr>
        <p:txBody>
          <a:bodyPr lIns="0" tIns="0" rIns="0" bIns="0">
            <a:normAutofit/>
          </a:bodyPr>
          <a:lstStyle>
            <a:lvl1pPr marL="0" indent="0" algn="l">
              <a:lnSpc>
                <a:spcPts val="1013"/>
              </a:lnSpc>
              <a:buNone/>
              <a:defRPr sz="1125" baseline="0">
                <a:solidFill>
                  <a:schemeClr val="tx2"/>
                </a:solidFill>
                <a:latin typeface="Rufina-Stencil-Bold"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College or department</a:t>
            </a:r>
          </a:p>
        </p:txBody>
      </p:sp>
      <p:pic>
        <p:nvPicPr>
          <p:cNvPr id="8" name="Picture 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460783" y="5692095"/>
            <a:ext cx="3270437" cy="1044748"/>
          </a:xfrm>
          <a:prstGeom prst="rect">
            <a:avLst/>
          </a:prstGeom>
        </p:spPr>
      </p:pic>
    </p:spTree>
    <p:extLst>
      <p:ext uri="{BB962C8B-B14F-4D97-AF65-F5344CB8AC3E}">
        <p14:creationId xmlns:p14="http://schemas.microsoft.com/office/powerpoint/2010/main" val="25044917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26049"/>
          <a:stretch/>
        </p:blipFill>
        <p:spPr>
          <a:xfrm>
            <a:off x="-430" y="95694"/>
            <a:ext cx="12192431" cy="6762307"/>
          </a:xfrm>
          <a:prstGeom prst="rect">
            <a:avLst/>
          </a:prstGeom>
        </p:spPr>
      </p:pic>
      <p:grpSp>
        <p:nvGrpSpPr>
          <p:cNvPr id="6" name="Group 5"/>
          <p:cNvGrpSpPr/>
          <p:nvPr userDrawn="1"/>
        </p:nvGrpSpPr>
        <p:grpSpPr>
          <a:xfrm>
            <a:off x="2194" y="-53163"/>
            <a:ext cx="12189807" cy="2976245"/>
            <a:chOff x="0" y="-53163"/>
            <a:chExt cx="9141806" cy="2976245"/>
          </a:xfrm>
        </p:grpSpPr>
        <p:sp>
          <p:nvSpPr>
            <p:cNvPr id="7" name="Rectangle 6"/>
            <p:cNvSpPr/>
            <p:nvPr/>
          </p:nvSpPr>
          <p:spPr>
            <a:xfrm>
              <a:off x="0" y="0"/>
              <a:ext cx="9141806" cy="2923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775" b="57376"/>
            <a:stretch/>
          </p:blipFill>
          <p:spPr>
            <a:xfrm>
              <a:off x="0" y="-53163"/>
              <a:ext cx="9141806" cy="2976245"/>
            </a:xfrm>
            <a:custGeom>
              <a:avLst/>
              <a:gdLst>
                <a:gd name="connsiteX0" fmla="*/ 0 w 9141806"/>
                <a:gd name="connsiteY0" fmla="*/ 0 h 2923082"/>
                <a:gd name="connsiteX1" fmla="*/ 9141806 w 9141806"/>
                <a:gd name="connsiteY1" fmla="*/ 0 h 2923082"/>
                <a:gd name="connsiteX2" fmla="*/ 9141806 w 9141806"/>
                <a:gd name="connsiteY2" fmla="*/ 2923082 h 2923082"/>
                <a:gd name="connsiteX3" fmla="*/ 0 w 9141806"/>
                <a:gd name="connsiteY3" fmla="*/ 2923082 h 2923082"/>
              </a:gdLst>
              <a:ahLst/>
              <a:cxnLst>
                <a:cxn ang="0">
                  <a:pos x="connsiteX0" y="connsiteY0"/>
                </a:cxn>
                <a:cxn ang="0">
                  <a:pos x="connsiteX1" y="connsiteY1"/>
                </a:cxn>
                <a:cxn ang="0">
                  <a:pos x="connsiteX2" y="connsiteY2"/>
                </a:cxn>
                <a:cxn ang="0">
                  <a:pos x="connsiteX3" y="connsiteY3"/>
                </a:cxn>
              </a:cxnLst>
              <a:rect l="l" t="t" r="r" b="b"/>
              <a:pathLst>
                <a:path w="9141806" h="2923082">
                  <a:moveTo>
                    <a:pt x="0" y="0"/>
                  </a:moveTo>
                  <a:lnTo>
                    <a:pt x="9141806" y="0"/>
                  </a:lnTo>
                  <a:lnTo>
                    <a:pt x="9141806" y="2923082"/>
                  </a:lnTo>
                  <a:lnTo>
                    <a:pt x="0" y="2923082"/>
                  </a:lnTo>
                  <a:close/>
                </a:path>
              </a:pathLst>
            </a:custGeom>
          </p:spPr>
        </p:pic>
      </p:grpSp>
      <p:sp>
        <p:nvSpPr>
          <p:cNvPr id="9" name="Rectangle 8"/>
          <p:cNvSpPr/>
          <p:nvPr userDrawn="1"/>
        </p:nvSpPr>
        <p:spPr>
          <a:xfrm>
            <a:off x="723900" y="723900"/>
            <a:ext cx="10262216" cy="3013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itle 1"/>
          <p:cNvSpPr>
            <a:spLocks noGrp="1"/>
          </p:cNvSpPr>
          <p:nvPr>
            <p:ph type="title"/>
          </p:nvPr>
        </p:nvSpPr>
        <p:spPr>
          <a:xfrm>
            <a:off x="1343738" y="958880"/>
            <a:ext cx="8855471" cy="569193"/>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0" name="Oval 9"/>
          <p:cNvSpPr>
            <a:spLocks noChangeAspect="1"/>
          </p:cNvSpPr>
          <p:nvPr userDrawn="1"/>
        </p:nvSpPr>
        <p:spPr>
          <a:xfrm>
            <a:off x="10592663" y="958878"/>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Picture Placeholder 2"/>
          <p:cNvSpPr>
            <a:spLocks noGrp="1"/>
          </p:cNvSpPr>
          <p:nvPr>
            <p:ph type="pic" sz="quarter" idx="12" hasCustomPrompt="1"/>
          </p:nvPr>
        </p:nvSpPr>
        <p:spPr>
          <a:xfrm>
            <a:off x="10734057" y="1100271"/>
            <a:ext cx="504121" cy="504122"/>
          </a:xfrm>
        </p:spPr>
        <p:txBody>
          <a:bodyPr anchor="ctr" anchorCtr="0">
            <a:noAutofit/>
          </a:bodyPr>
          <a:lstStyle>
            <a:lvl1pPr marL="0" indent="0" algn="ctr">
              <a:buNone/>
              <a:defRPr sz="800"/>
            </a:lvl1pPr>
          </a:lstStyle>
          <a:p>
            <a:r>
              <a:rPr lang="en-US"/>
              <a:t>Icon image</a:t>
            </a:r>
          </a:p>
        </p:txBody>
      </p:sp>
      <p:sp>
        <p:nvSpPr>
          <p:cNvPr id="17" name="Text Placeholder 16"/>
          <p:cNvSpPr>
            <a:spLocks noGrp="1"/>
          </p:cNvSpPr>
          <p:nvPr>
            <p:ph type="body" sz="quarter" idx="13" hasCustomPrompt="1"/>
          </p:nvPr>
        </p:nvSpPr>
        <p:spPr>
          <a:xfrm>
            <a:off x="1343026" y="1604965"/>
            <a:ext cx="8856663" cy="1957387"/>
          </a:xfrm>
        </p:spPr>
        <p:txBody>
          <a:bodyPr>
            <a:normAutofit/>
          </a:bodyPr>
          <a:lstStyle>
            <a:lvl1pPr marL="228594" indent="-228594">
              <a:buClr>
                <a:srgbClr val="DC4405"/>
              </a:buClr>
              <a:buFont typeface="Courier New" panose="02070309020205020404" pitchFamily="49" charset="0"/>
              <a:buChar char="o"/>
              <a:defRPr sz="2000" baseline="0">
                <a:latin typeface="+mn-lt"/>
              </a:defRPr>
            </a:lvl1pPr>
            <a:lvl2pPr marL="685783" indent="-228594">
              <a:buClr>
                <a:srgbClr val="DC4405"/>
              </a:buClr>
              <a:buFont typeface="Courier New" panose="02070309020205020404" pitchFamily="49" charset="0"/>
              <a:buChar char="o"/>
              <a:defRPr sz="1800" baseline="0">
                <a:latin typeface="+mn-lt"/>
              </a:defRPr>
            </a:lvl2pPr>
            <a:lvl3pPr marL="1142971" indent="-228594">
              <a:buClr>
                <a:srgbClr val="DC4405"/>
              </a:buClr>
              <a:buFont typeface="Courier New" panose="02070309020205020404" pitchFamily="49" charset="0"/>
              <a:buChar char="o"/>
              <a:defRPr sz="1600" baseline="0">
                <a:latin typeface="+mn-lt"/>
              </a:defRPr>
            </a:lvl3pPr>
            <a:lvl4pPr marL="1600160" indent="-228594">
              <a:buClr>
                <a:srgbClr val="DC4405"/>
              </a:buClr>
              <a:buFont typeface="Courier New" panose="02070309020205020404" pitchFamily="49" charset="0"/>
              <a:buChar char="o"/>
              <a:defRPr sz="1400" baseline="0">
                <a:latin typeface="+mn-lt"/>
              </a:defRPr>
            </a:lvl4pPr>
            <a:lvl5pPr marL="2057349" indent="-228594">
              <a:buClr>
                <a:srgbClr val="DC4405"/>
              </a:buClr>
              <a:buFont typeface="Courier New" panose="02070309020205020404" pitchFamily="49" charset="0"/>
              <a:buChar char="o"/>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1"/>
          </p:nvPr>
        </p:nvSpPr>
        <p:spPr>
          <a:xfrm>
            <a:off x="-216" y="2904955"/>
            <a:ext cx="12192431" cy="3970678"/>
          </a:xfrm>
          <a:custGeom>
            <a:avLst/>
            <a:gdLst>
              <a:gd name="connsiteX0" fmla="*/ 0 w 12192000"/>
              <a:gd name="connsiteY0" fmla="*/ 983853 h 3935412"/>
              <a:gd name="connsiteX1" fmla="*/ 983853 w 12192000"/>
              <a:gd name="connsiteY1" fmla="*/ 983853 h 3935412"/>
              <a:gd name="connsiteX2" fmla="*/ 983853 w 12192000"/>
              <a:gd name="connsiteY2" fmla="*/ 0 h 3935412"/>
              <a:gd name="connsiteX3" fmla="*/ 11208147 w 12192000"/>
              <a:gd name="connsiteY3" fmla="*/ 0 h 3935412"/>
              <a:gd name="connsiteX4" fmla="*/ 11208147 w 12192000"/>
              <a:gd name="connsiteY4" fmla="*/ 983853 h 3935412"/>
              <a:gd name="connsiteX5" fmla="*/ 12192000 w 12192000"/>
              <a:gd name="connsiteY5" fmla="*/ 983853 h 3935412"/>
              <a:gd name="connsiteX6" fmla="*/ 12192000 w 12192000"/>
              <a:gd name="connsiteY6" fmla="*/ 2951559 h 3935412"/>
              <a:gd name="connsiteX7" fmla="*/ 11208147 w 12192000"/>
              <a:gd name="connsiteY7" fmla="*/ 2951559 h 3935412"/>
              <a:gd name="connsiteX8" fmla="*/ 11208147 w 12192000"/>
              <a:gd name="connsiteY8" fmla="*/ 3935412 h 3935412"/>
              <a:gd name="connsiteX9" fmla="*/ 983853 w 12192000"/>
              <a:gd name="connsiteY9" fmla="*/ 3935412 h 3935412"/>
              <a:gd name="connsiteX10" fmla="*/ 983853 w 12192000"/>
              <a:gd name="connsiteY10" fmla="*/ 2951559 h 3935412"/>
              <a:gd name="connsiteX11" fmla="*/ 0 w 12192000"/>
              <a:gd name="connsiteY11" fmla="*/ 2951559 h 3935412"/>
              <a:gd name="connsiteX12" fmla="*/ 0 w 12192000"/>
              <a:gd name="connsiteY12" fmla="*/ 983853 h 3935412"/>
              <a:gd name="connsiteX0" fmla="*/ 10633 w 12192000"/>
              <a:gd name="connsiteY0" fmla="*/ 0 h 3940387"/>
              <a:gd name="connsiteX1" fmla="*/ 983853 w 12192000"/>
              <a:gd name="connsiteY1" fmla="*/ 988828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0632 h 3951019"/>
              <a:gd name="connsiteX1" fmla="*/ 728672 w 12192000"/>
              <a:gd name="connsiteY1" fmla="*/ 0 h 3951019"/>
              <a:gd name="connsiteX2" fmla="*/ 718039 w 12192000"/>
              <a:gd name="connsiteY2" fmla="*/ 834314 h 3951019"/>
              <a:gd name="connsiteX3" fmla="*/ 11208147 w 12192000"/>
              <a:gd name="connsiteY3" fmla="*/ 15607 h 3951019"/>
              <a:gd name="connsiteX4" fmla="*/ 11208147 w 12192000"/>
              <a:gd name="connsiteY4" fmla="*/ 999460 h 3951019"/>
              <a:gd name="connsiteX5" fmla="*/ 12192000 w 12192000"/>
              <a:gd name="connsiteY5" fmla="*/ 999460 h 3951019"/>
              <a:gd name="connsiteX6" fmla="*/ 12192000 w 12192000"/>
              <a:gd name="connsiteY6" fmla="*/ 2967166 h 3951019"/>
              <a:gd name="connsiteX7" fmla="*/ 11208147 w 12192000"/>
              <a:gd name="connsiteY7" fmla="*/ 2967166 h 3951019"/>
              <a:gd name="connsiteX8" fmla="*/ 11208147 w 12192000"/>
              <a:gd name="connsiteY8" fmla="*/ 3951019 h 3951019"/>
              <a:gd name="connsiteX9" fmla="*/ 983853 w 12192000"/>
              <a:gd name="connsiteY9" fmla="*/ 3951019 h 3951019"/>
              <a:gd name="connsiteX10" fmla="*/ 983853 w 12192000"/>
              <a:gd name="connsiteY10" fmla="*/ 2967166 h 3951019"/>
              <a:gd name="connsiteX11" fmla="*/ 0 w 12192000"/>
              <a:gd name="connsiteY11" fmla="*/ 2967166 h 3951019"/>
              <a:gd name="connsiteX12" fmla="*/ 10633 w 12192000"/>
              <a:gd name="connsiteY12" fmla="*/ 10632 h 3951019"/>
              <a:gd name="connsiteX0" fmla="*/ 10633 w 12192000"/>
              <a:gd name="connsiteY0" fmla="*/ 0 h 3940387"/>
              <a:gd name="connsiteX1" fmla="*/ 718039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0622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0999141 w 12192000"/>
              <a:gd name="connsiteY3" fmla="*/ 806163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2658 h 3953045"/>
              <a:gd name="connsiteX1" fmla="*/ 718039 w 12192000"/>
              <a:gd name="connsiteY1" fmla="*/ 14583 h 3953045"/>
              <a:gd name="connsiteX2" fmla="*/ 718039 w 12192000"/>
              <a:gd name="connsiteY2" fmla="*/ 836340 h 3953045"/>
              <a:gd name="connsiteX3" fmla="*/ 10999141 w 12192000"/>
              <a:gd name="connsiteY3" fmla="*/ 818821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7418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216"/>
              <a:gd name="connsiteY0" fmla="*/ 12658 h 3961969"/>
              <a:gd name="connsiteX1" fmla="*/ 718039 w 12192216"/>
              <a:gd name="connsiteY1" fmla="*/ 14583 h 3961969"/>
              <a:gd name="connsiteX2" fmla="*/ 718039 w 12192216"/>
              <a:gd name="connsiteY2" fmla="*/ 836340 h 3961969"/>
              <a:gd name="connsiteX3" fmla="*/ 10990432 w 12192216"/>
              <a:gd name="connsiteY3" fmla="*/ 827529 h 3961969"/>
              <a:gd name="connsiteX4" fmla="*/ 10999141 w 12192216"/>
              <a:gd name="connsiteY4" fmla="*/ 0 h 3961969"/>
              <a:gd name="connsiteX5" fmla="*/ 12192000 w 12192216"/>
              <a:gd name="connsiteY5" fmla="*/ 17418 h 3961969"/>
              <a:gd name="connsiteX6" fmla="*/ 12192000 w 12192216"/>
              <a:gd name="connsiteY6" fmla="*/ 2969192 h 3961969"/>
              <a:gd name="connsiteX7" fmla="*/ 12192216 w 12192216"/>
              <a:gd name="connsiteY7" fmla="*/ 3961969 h 3961969"/>
              <a:gd name="connsiteX8" fmla="*/ 11208147 w 12192216"/>
              <a:gd name="connsiteY8" fmla="*/ 3953045 h 3961969"/>
              <a:gd name="connsiteX9" fmla="*/ 983853 w 12192216"/>
              <a:gd name="connsiteY9" fmla="*/ 3953045 h 3961969"/>
              <a:gd name="connsiteX10" fmla="*/ 983853 w 12192216"/>
              <a:gd name="connsiteY10" fmla="*/ 2969192 h 3961969"/>
              <a:gd name="connsiteX11" fmla="*/ 0 w 12192216"/>
              <a:gd name="connsiteY11" fmla="*/ 2969192 h 3961969"/>
              <a:gd name="connsiteX12" fmla="*/ 10633 w 12192216"/>
              <a:gd name="connsiteY12" fmla="*/ 12658 h 3961969"/>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81939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431" h="3970678">
                <a:moveTo>
                  <a:pt x="10848" y="12658"/>
                </a:moveTo>
                <a:lnTo>
                  <a:pt x="718254" y="14583"/>
                </a:lnTo>
                <a:lnTo>
                  <a:pt x="718254" y="836340"/>
                </a:lnTo>
                <a:lnTo>
                  <a:pt x="10990647" y="827529"/>
                </a:lnTo>
                <a:cubicBezTo>
                  <a:pt x="10987744" y="551686"/>
                  <a:pt x="10984842" y="275843"/>
                  <a:pt x="10981939" y="0"/>
                </a:cubicBezTo>
                <a:lnTo>
                  <a:pt x="12192215" y="17418"/>
                </a:lnTo>
                <a:lnTo>
                  <a:pt x="12192215" y="2969192"/>
                </a:lnTo>
                <a:lnTo>
                  <a:pt x="12192431" y="3961969"/>
                </a:lnTo>
                <a:lnTo>
                  <a:pt x="11208362" y="3953045"/>
                </a:lnTo>
                <a:lnTo>
                  <a:pt x="984068" y="3953045"/>
                </a:lnTo>
                <a:lnTo>
                  <a:pt x="0" y="3970678"/>
                </a:lnTo>
                <a:cubicBezTo>
                  <a:pt x="72" y="3636849"/>
                  <a:pt x="143" y="3303021"/>
                  <a:pt x="215" y="2969192"/>
                </a:cubicBezTo>
                <a:cubicBezTo>
                  <a:pt x="3759" y="1983681"/>
                  <a:pt x="7304" y="998169"/>
                  <a:pt x="10848" y="12658"/>
                </a:cubicBezTo>
                <a:close/>
              </a:path>
            </a:pathLst>
          </a:custGeom>
        </p:spPr>
        <p:txBody>
          <a:bodyPr/>
          <a:lstStyle/>
          <a:p>
            <a:endParaRPr lang="en-US"/>
          </a:p>
        </p:txBody>
      </p:sp>
    </p:spTree>
    <p:extLst>
      <p:ext uri="{BB962C8B-B14F-4D97-AF65-F5344CB8AC3E}">
        <p14:creationId xmlns:p14="http://schemas.microsoft.com/office/powerpoint/2010/main" val="12734829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6" Type="http://schemas.openxmlformats.org/officeDocument/2006/relationships/theme" Target="../theme/theme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heme" Target="../theme/theme4.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3D1E99-0845-447A-9031-65FA317316B8}" type="datetimeFigureOut">
              <a:rPr lang="en-US" smtClean="0"/>
              <a:t>4/16/2026</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20797-FCF4-492A-A828-CBC0DD9B3322}" type="slidenum">
              <a:rPr lang="en-US" smtClean="0"/>
              <a:t>‹#›</a:t>
            </a:fld>
            <a:endParaRPr lang="en-US"/>
          </a:p>
        </p:txBody>
      </p:sp>
    </p:spTree>
    <p:extLst>
      <p:ext uri="{BB962C8B-B14F-4D97-AF65-F5344CB8AC3E}">
        <p14:creationId xmlns:p14="http://schemas.microsoft.com/office/powerpoint/2010/main" val="10026016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txStyles>
    <p:titleStyle>
      <a:lvl1pPr algn="l" defTabSz="914377" rtl="0" eaLnBrk="1" latinLnBrk="0" hangingPunct="1">
        <a:lnSpc>
          <a:spcPct val="90000"/>
        </a:lnSpc>
        <a:spcBef>
          <a:spcPct val="0"/>
        </a:spcBef>
        <a:buNone/>
        <a:defRPr sz="2800" b="1" i="0" u="none" kern="1200" baseline="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000" kern="1200" baseline="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1800" b="0" i="0" u="none" kern="1200" baseline="0">
          <a:solidFill>
            <a:schemeClr val="tx1"/>
          </a:solidFill>
          <a:latin typeface="+mj-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400" kern="1200" baseline="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29755F-92A9-F821-E626-BA616127E12B}"/>
              </a:ext>
            </a:extLst>
          </p:cNvPr>
          <p:cNvSpPr>
            <a:spLocks noGrp="1"/>
          </p:cNvSpPr>
          <p:nvPr>
            <p:ph type="title"/>
          </p:nvPr>
        </p:nvSpPr>
        <p:spPr>
          <a:xfrm>
            <a:off x="838200" y="365126"/>
            <a:ext cx="9597887" cy="489640"/>
          </a:xfrm>
          <a:prstGeom prst="rect">
            <a:avLst/>
          </a:prstGeom>
        </p:spPr>
        <p:txBody>
          <a:bodyPr vert="horz" lIns="91440" tIns="45720" rIns="91440" bIns="45720" rtlCol="0" anchor="ctr">
            <a:normAutofit/>
          </a:bodyPr>
          <a:lstStyle/>
          <a:p>
            <a:r>
              <a:rPr lang="en-US"/>
              <a:t>Slide Title Should be a sentence </a:t>
            </a:r>
          </a:p>
        </p:txBody>
      </p:sp>
      <p:sp>
        <p:nvSpPr>
          <p:cNvPr id="3" name="Text Placeholder 2">
            <a:extLst>
              <a:ext uri="{FF2B5EF4-FFF2-40B4-BE49-F238E27FC236}">
                <a16:creationId xmlns:a16="http://schemas.microsoft.com/office/drawing/2014/main" id="{D8538E62-03E5-BD18-4A2E-DA5EA97770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3CBF0B29-B0D8-DACE-9D2F-E39880D65DE4}"/>
              </a:ext>
            </a:extLst>
          </p:cNvPr>
          <p:cNvSpPr txBox="1"/>
          <p:nvPr userDrawn="1"/>
        </p:nvSpPr>
        <p:spPr>
          <a:xfrm>
            <a:off x="7126357" y="6477000"/>
            <a:ext cx="4592572" cy="138499"/>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r>
              <a:rPr lang="en-US" sz="900" b="0" noProof="0" dirty="0">
                <a:solidFill>
                  <a:schemeClr val="tx1"/>
                </a:solidFill>
                <a:latin typeface="Kievit Offc" panose="020B0504030101020102" pitchFamily="34" charset="77"/>
              </a:rPr>
              <a:t>Oregon State University | AMP </a:t>
            </a:r>
            <a:r>
              <a:rPr lang="en-US" sz="900" noProof="0" dirty="0">
                <a:solidFill>
                  <a:schemeClr val="tx1"/>
                </a:solidFill>
                <a:latin typeface="Kievit Offc" panose="020B0504030101020102" pitchFamily="34" charset="77"/>
              </a:rPr>
              <a:t>| Page </a:t>
            </a:r>
            <a:fld id="{C58DF478-B544-4ED8-9ED4-6A2648E2D233}" type="slidenum">
              <a:rPr lang="en-US" sz="900" noProof="0" smtClean="0">
                <a:solidFill>
                  <a:schemeClr val="tx1"/>
                </a:solidFill>
                <a:latin typeface="Kievit Offc" panose="020B0504030101020102" pitchFamily="34" charset="77"/>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lang="en-US" sz="900" noProof="0" dirty="0">
              <a:solidFill>
                <a:schemeClr val="tx1"/>
              </a:solidFill>
              <a:latin typeface="Kievit Offc" panose="020B0504030101020102" pitchFamily="34" charset="77"/>
            </a:endParaRPr>
          </a:p>
        </p:txBody>
      </p:sp>
    </p:spTree>
    <p:extLst>
      <p:ext uri="{BB962C8B-B14F-4D97-AF65-F5344CB8AC3E}">
        <p14:creationId xmlns:p14="http://schemas.microsoft.com/office/powerpoint/2010/main" val="221972383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4" r:id="rId15"/>
  </p:sldLayoutIdLst>
  <p:txStyles>
    <p:titleStyle>
      <a:lvl1pPr algn="l" defTabSz="914400" rtl="0" eaLnBrk="1" latinLnBrk="0" hangingPunct="1">
        <a:lnSpc>
          <a:spcPct val="90000"/>
        </a:lnSpc>
        <a:spcBef>
          <a:spcPct val="0"/>
        </a:spcBef>
        <a:buNone/>
        <a:defRPr sz="24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49126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Lst>
  <p:txStyles>
    <p:titleStyle>
      <a:lvl1pPr algn="l" defTabSz="914400" rtl="0" eaLnBrk="1" latinLnBrk="0" hangingPunct="1">
        <a:lnSpc>
          <a:spcPct val="90000"/>
        </a:lnSpc>
        <a:spcBef>
          <a:spcPct val="0"/>
        </a:spcBef>
        <a:buNone/>
        <a:defRPr sz="4400" kern="1200">
          <a:solidFill>
            <a:schemeClr val="accent1"/>
          </a:solidFill>
          <a:latin typeface="Stratum2 Regular" panose="020B05060300000200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Kievit Offc Medium" panose="020B0604030101020102"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Kievit Offc Medium" panose="020B0604030101020102"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Kievit Offc Medium" panose="020B0604030101020102"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55B79704-5898-4372-9E64-B59CF90CFD13}" type="datetimeFigureOut">
              <a:rPr lang="en-US" smtClean="0"/>
              <a:t>4/16/2026</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r>
              <a:rPr lang="en-US" dirty="0"/>
              <a:t>Sue Theiss, MA, University Ombuds Office, 2018</a:t>
            </a:r>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r>
              <a:rPr lang="en-US" dirty="0"/>
              <a:t>| </a:t>
            </a:r>
            <a:fld id="{AAB6004F-53F9-E74D-AC89-56EA63355CB3}" type="slidenum">
              <a:rPr lang="en-US" smtClean="0"/>
              <a:pPr/>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2734747"/>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hf sldNum="0" hd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51.svg"/><Relationship Id="rId4" Type="http://schemas.openxmlformats.org/officeDocument/2006/relationships/hyperlink" Target="mailto:gradhealth@oregonstate.edu"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51.svg"/><Relationship Id="rId4" Type="http://schemas.openxmlformats.org/officeDocument/2006/relationships/hyperlink" Target="mailto:gradhealth@oregonstate.edu"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7.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7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7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ftrprocess.powerappsportals.com/" TargetMode="External"/><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6.xml"/></Relationships>
</file>

<file path=ppt/slides/_rels/slide1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6.xml"/></Relationships>
</file>

<file path=ppt/slides/_rels/slide1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svg"/><Relationship Id="rId7" Type="http://schemas.openxmlformats.org/officeDocument/2006/relationships/hyperlink" Target="https://hr.oregonstate.edu/calendar-and-communication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emf"/><Relationship Id="rId4" Type="http://schemas.openxmlformats.org/officeDocument/2006/relationships/image" Target="../media/image39.emf"/><Relationship Id="rId9" Type="http://schemas.openxmlformats.org/officeDocument/2006/relationships/image" Target="../media/image43.svg"/></Relationships>
</file>

<file path=ppt/slides/_rels/slide2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6.xml"/></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8.png"/><Relationship Id="rId1" Type="http://schemas.openxmlformats.org/officeDocument/2006/relationships/slideLayout" Target="../slideLayouts/slideLayout76.xml"/></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9.png"/><Relationship Id="rId1" Type="http://schemas.openxmlformats.org/officeDocument/2006/relationships/slideLayout" Target="../slideLayouts/slideLayout7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0.xml"/></Relationships>
</file>

<file path=ppt/slides/_rels/slide3.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8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2.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nam04.safelinks.protection.outlook.com/?url=https%3A%2F%2Foregonstate.us15.list-manage.com%2Ftrack%2Fclick%3Fu%3D302c57958eacecb0c7deefd31%26id%3Dee1ee66ce3%26e%3D987e3a2db5&amp;data=05%7C02%7CBrittany.McDonald%40oregonstate.edu%7Ccc8dd78abd18444c167208de93e9dd1a%7Cce6d05e13c5e4d6287a84c4a2713c113%7C0%7C0%7C639110829881353928%7CUnknown%7CTWFpbGZsb3d8eyJFbXB0eU1hcGkiOnRydWUsIlYiOiIwLjAuMDAwMCIsIlAiOiJXaW4zMiIsIkFOIjoiTWFpbCIsIldUIjoyfQ%3D%3D%7C0%7C%7C%7C&amp;sdata=P%2FhKoHMDG%2B8%2FJ4Ic9LupWLB9vSF%2Fin8twmyijYbkZmw%3D&amp;reserved=0" TargetMode="External"/><Relationship Id="rId5" Type="http://schemas.openxmlformats.org/officeDocument/2006/relationships/hyperlink" Target="https://nam04.safelinks.protection.outlook.com/?url=https%3A%2F%2Foregonstate.us15.list-manage.com%2Ftrack%2Fclick%3Fu%3D302c57958eacecb0c7deefd31%26id%3Db1aff3a648%26e%3D987e3a2db5&amp;data=05%7C02%7CBrittany.McDonald%40oregonstate.edu%7Ccc8dd78abd18444c167208de93e9dd1a%7Cce6d05e13c5e4d6287a84c4a2713c113%7C0%7C0%7C639110829881334878%7CUnknown%7CTWFpbGZsb3d8eyJFbXB0eU1hcGkiOnRydWUsIlYiOiIwLjAuMDAwMCIsIlAiOiJXaW4zMiIsIkFOIjoiTWFpbCIsIldUIjoyfQ%3D%3D%7C0%7C%7C%7C&amp;sdata=shNHCahixhJW6w5DkaQBK6qfjNR2FC%2Bz2fV77uc59ew%3D&amp;reserved=0" TargetMode="External"/><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46.png"/><Relationship Id="rId4" Type="http://schemas.openxmlformats.org/officeDocument/2006/relationships/image" Target="../media/image45.emf"/></Relationships>
</file>

<file path=ppt/slides/_rels/slide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5.emf"/></Relationships>
</file>

<file path=ppt/slides/_rels/slide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9.sv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50.svg"/><Relationship Id="rId4" Type="http://schemas.openxmlformats.org/officeDocument/2006/relationships/hyperlink" Target="https://hr.oregonstate.edu/announcement/pebb-summer-insurance-process"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0.svg"/><Relationship Id="rId1" Type="http://schemas.openxmlformats.org/officeDocument/2006/relationships/slideLayout" Target="../slideLayouts/slideLayout2.xml"/><Relationship Id="rId5" Type="http://schemas.openxmlformats.org/officeDocument/2006/relationships/hyperlink" Target="https://hr.oregonstate.edu/announcement/pebb-summer-insurance-process" TargetMode="External"/><Relationship Id="rId4" Type="http://schemas.openxmlformats.org/officeDocument/2006/relationships/hyperlink" Target="mailto:hrsupportservices@oregonstate.edu"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DC4405"/>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HR/PAYROLL FORUM</a:t>
            </a:r>
          </a:p>
        </p:txBody>
      </p:sp>
      <p:sp>
        <p:nvSpPr>
          <p:cNvPr id="3" name="Subtitle 2"/>
          <p:cNvSpPr>
            <a:spLocks noGrp="1"/>
          </p:cNvSpPr>
          <p:nvPr>
            <p:ph type="subTitle" idx="1"/>
          </p:nvPr>
        </p:nvSpPr>
        <p:spPr/>
        <p:txBody>
          <a:bodyPr/>
          <a:lstStyle/>
          <a:p>
            <a:r>
              <a:rPr lang="en-US" i="1" dirty="0">
                <a:latin typeface="Verdana" charset="0"/>
                <a:ea typeface="Verdana" charset="0"/>
                <a:cs typeface="Verdana" charset="0"/>
              </a:rPr>
              <a:t>April 16, 2026</a:t>
            </a:r>
          </a:p>
          <a:p>
            <a:endParaRPr lang="en-US" dirty="0"/>
          </a:p>
        </p:txBody>
      </p:sp>
      <p:pic>
        <p:nvPicPr>
          <p:cNvPr id="6" name="Graphic 5" descr="Flower without stem outline">
            <a:extLst>
              <a:ext uri="{FF2B5EF4-FFF2-40B4-BE49-F238E27FC236}">
                <a16:creationId xmlns:a16="http://schemas.microsoft.com/office/drawing/2014/main" id="{E0E0EDA8-E8BA-6AD6-38C7-DA89801A06D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553326" y="3429000"/>
            <a:ext cx="914400" cy="914400"/>
          </a:xfrm>
          <a:prstGeom prst="rect">
            <a:avLst/>
          </a:prstGeom>
        </p:spPr>
      </p:pic>
    </p:spTree>
    <p:extLst>
      <p:ext uri="{BB962C8B-B14F-4D97-AF65-F5344CB8AC3E}">
        <p14:creationId xmlns:p14="http://schemas.microsoft.com/office/powerpoint/2010/main" val="15940625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E6318-623A-0FB2-D304-41CEE97DCF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DCD8CE-6D43-27BE-1DF4-2EF55F87386D}"/>
              </a:ext>
            </a:extLst>
          </p:cNvPr>
          <p:cNvSpPr>
            <a:spLocks noGrp="1"/>
          </p:cNvSpPr>
          <p:nvPr>
            <p:ph type="title"/>
          </p:nvPr>
        </p:nvSpPr>
        <p:spPr/>
        <p:txBody>
          <a:bodyPr>
            <a:noAutofit/>
          </a:bodyPr>
          <a:lstStyle/>
          <a:p>
            <a:r>
              <a:rPr lang="en-US" sz="3000" dirty="0">
                <a:latin typeface="Verdana"/>
                <a:ea typeface="Verdana"/>
              </a:rPr>
              <a:t>Summer Health Insurance – Grad Assistants</a:t>
            </a:r>
          </a:p>
        </p:txBody>
      </p:sp>
      <p:sp>
        <p:nvSpPr>
          <p:cNvPr id="4" name="Content Placeholder 2">
            <a:extLst>
              <a:ext uri="{FF2B5EF4-FFF2-40B4-BE49-F238E27FC236}">
                <a16:creationId xmlns:a16="http://schemas.microsoft.com/office/drawing/2014/main" id="{12860473-C962-7826-0328-9BFD750CF046}"/>
              </a:ext>
            </a:extLst>
          </p:cNvPr>
          <p:cNvSpPr txBox="1">
            <a:spLocks/>
          </p:cNvSpPr>
          <p:nvPr/>
        </p:nvSpPr>
        <p:spPr>
          <a:xfrm>
            <a:off x="804672" y="1480390"/>
            <a:ext cx="11119104" cy="5203874"/>
          </a:xfrm>
          <a:prstGeom prst="rect">
            <a:avLst/>
          </a:prstGeom>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solidFill>
                  <a:prstClr val="black"/>
                </a:solidFill>
                <a:ea typeface="+mn-lt"/>
                <a:cs typeface="+mn-lt"/>
              </a:rPr>
              <a:t>All Graduate Assistants with a position during at least one term of the academic year are automatically enrolled in health insurance for the following summer session (July, August and September).</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lang="en-US" sz="200" dirty="0">
              <a:solidFill>
                <a:prstClr val="black"/>
              </a:solidFill>
              <a:ea typeface="+mn-lt"/>
              <a:cs typeface="+mn-lt"/>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solidFill>
                  <a:prstClr val="black"/>
                </a:solidFill>
                <a:ea typeface="+mn-lt"/>
                <a:cs typeface="+mn-lt"/>
              </a:rPr>
              <a:t>Premiums are deducted over a course of 9 months between October and June, prior to summer session</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lang="en-US" sz="200" dirty="0">
              <a:solidFill>
                <a:prstClr val="black"/>
              </a:solidFill>
              <a:ea typeface="+mn-lt"/>
              <a:cs typeface="+mn-lt"/>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solidFill>
                  <a:prstClr val="black"/>
                </a:solidFill>
                <a:ea typeface="+mn-lt"/>
                <a:cs typeface="+mn-lt"/>
              </a:rPr>
              <a:t>No premiums are deducted in July, August, or September paychecks for Grad Assistants who prepaid*</a:t>
            </a:r>
          </a:p>
          <a:p>
            <a:pPr marL="513715" lvl="1" indent="0">
              <a:buClrTx/>
              <a:buSzPct val="100000"/>
              <a:buNone/>
              <a:defRPr/>
            </a:pPr>
            <a:r>
              <a:rPr lang="en-US" sz="1600" dirty="0">
                <a:solidFill>
                  <a:prstClr val="black"/>
                </a:solidFill>
                <a:ea typeface="+mn-lt"/>
                <a:cs typeface="+mn-lt"/>
              </a:rPr>
              <a:t>*Grad Assistants who start new in Summer Session will pay premiums during the summer months since they have not prepaid premiums throughout the academic year.</a:t>
            </a:r>
          </a:p>
          <a:p>
            <a:pPr marL="513715" lvl="1" indent="0">
              <a:buClrTx/>
              <a:buSzPct val="100000"/>
              <a:buNone/>
              <a:defRPr/>
            </a:pPr>
            <a:endParaRPr lang="en-US" sz="200" dirty="0">
              <a:solidFill>
                <a:prstClr val="black"/>
              </a:solidFill>
              <a:ea typeface="+mn-lt"/>
              <a:cs typeface="+mn-lt"/>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solidFill>
                  <a:prstClr val="black"/>
                </a:solidFill>
                <a:ea typeface="+mn-lt"/>
                <a:cs typeface="+mn-lt"/>
              </a:rPr>
              <a:t>Opt-Out Process – Forms required by </a:t>
            </a:r>
            <a:r>
              <a:rPr lang="en-US" sz="1600" b="1" dirty="0">
                <a:solidFill>
                  <a:prstClr val="black"/>
                </a:solidFill>
                <a:ea typeface="+mn-lt"/>
                <a:cs typeface="+mn-lt"/>
              </a:rPr>
              <a:t>May 1</a:t>
            </a:r>
            <a:r>
              <a:rPr lang="en-US" sz="1600" b="1" baseline="30000" dirty="0">
                <a:solidFill>
                  <a:prstClr val="black"/>
                </a:solidFill>
                <a:ea typeface="+mn-lt"/>
                <a:cs typeface="+mn-lt"/>
              </a:rPr>
              <a:t>st</a:t>
            </a:r>
            <a:endParaRPr lang="en-US" sz="1600" b="1" dirty="0">
              <a:solidFill>
                <a:prstClr val="black"/>
              </a:solidFill>
              <a:cs typeface="+mn-lt"/>
            </a:endParaRPr>
          </a:p>
          <a:p>
            <a:pPr lvl="1">
              <a:lnSpc>
                <a:spcPct val="100000"/>
              </a:lnSpc>
              <a:spcBef>
                <a:spcPts val="1200"/>
              </a:spcBef>
              <a:buClr>
                <a:srgbClr val="D73F09"/>
              </a:buClr>
              <a:buSzPct val="100000"/>
              <a:buFont typeface="Arial" panose="020B0604020202020204" pitchFamily="34" charset="0"/>
              <a:buChar char="•"/>
              <a:defRPr/>
            </a:pPr>
            <a:r>
              <a:rPr lang="en-US" sz="1600" dirty="0">
                <a:solidFill>
                  <a:prstClr val="black"/>
                </a:solidFill>
                <a:ea typeface="+mn-lt"/>
                <a:cs typeface="+mn-lt"/>
              </a:rPr>
              <a:t>Can opt-out of summer insurance if they are not employed in a Graduate Assistant position during summer term. </a:t>
            </a:r>
          </a:p>
          <a:p>
            <a:pPr lvl="1">
              <a:lnSpc>
                <a:spcPct val="100000"/>
              </a:lnSpc>
              <a:spcBef>
                <a:spcPts val="1200"/>
              </a:spcBef>
              <a:buClr>
                <a:srgbClr val="D73F09"/>
              </a:buClr>
              <a:buSzPct val="100000"/>
              <a:buFont typeface="Arial" panose="020B0604020202020204" pitchFamily="34" charset="0"/>
              <a:buChar char="•"/>
              <a:defRPr/>
            </a:pPr>
            <a:r>
              <a:rPr lang="en-US" sz="1600" dirty="0">
                <a:solidFill>
                  <a:prstClr val="black"/>
                </a:solidFill>
                <a:ea typeface="+mn-lt"/>
                <a:cs typeface="+mn-lt"/>
              </a:rPr>
              <a:t>MUST opt-out of summer coverage if graduating prior to summer term and/or not returning as a student either summer or fall term.</a:t>
            </a:r>
          </a:p>
          <a:p>
            <a:pPr lvl="2">
              <a:lnSpc>
                <a:spcPct val="100000"/>
              </a:lnSpc>
              <a:spcBef>
                <a:spcPts val="1200"/>
              </a:spcBef>
              <a:buClr>
                <a:srgbClr val="D73F09"/>
              </a:buClr>
              <a:buSzPct val="100000"/>
              <a:buFont typeface="Arial" panose="020B0604020202020204" pitchFamily="34" charset="0"/>
              <a:buChar char="•"/>
              <a:defRPr/>
            </a:pPr>
            <a:r>
              <a:rPr lang="en-US" dirty="0">
                <a:solidFill>
                  <a:prstClr val="black"/>
                </a:solidFill>
                <a:ea typeface="Gill Sans" charset="0"/>
                <a:cs typeface="Gill Sans" charset="0"/>
              </a:rPr>
              <a:t>Employee Benefits is provided a graduation report in July and will terminate coverage for Graduate Assistants who graduated in the academic year. </a:t>
            </a:r>
          </a:p>
          <a:p>
            <a:pPr marL="0" indent="0">
              <a:buClrTx/>
              <a:buSzPct val="100000"/>
              <a:buNone/>
              <a:defRPr/>
            </a:pPr>
            <a:endParaRPr lang="en-US" sz="200" dirty="0">
              <a:solidFill>
                <a:prstClr val="black"/>
              </a:solidFill>
              <a:ea typeface="Gill Sans" charset="0"/>
              <a:cs typeface="Gill Sans" charset="0"/>
            </a:endParaRPr>
          </a:p>
          <a:p>
            <a:pPr marL="0" indent="0">
              <a:buClrTx/>
              <a:buSzPct val="100000"/>
              <a:buNone/>
              <a:defRPr/>
            </a:pPr>
            <a:r>
              <a:rPr lang="en-US" sz="1600" dirty="0">
                <a:solidFill>
                  <a:prstClr val="black"/>
                </a:solidFill>
                <a:ea typeface="Gill Sans" charset="0"/>
                <a:cs typeface="Gill Sans" charset="0"/>
              </a:rPr>
              <a:t>Opting out of summer coverage is </a:t>
            </a:r>
            <a:r>
              <a:rPr lang="en-US" sz="1600" b="1" dirty="0">
                <a:solidFill>
                  <a:prstClr val="black"/>
                </a:solidFill>
                <a:ea typeface="Gill Sans" charset="0"/>
                <a:cs typeface="Gill Sans" charset="0"/>
              </a:rPr>
              <a:t>not</a:t>
            </a:r>
            <a:r>
              <a:rPr lang="en-US" sz="1600" dirty="0">
                <a:solidFill>
                  <a:prstClr val="black"/>
                </a:solidFill>
                <a:ea typeface="Gill Sans" charset="0"/>
                <a:cs typeface="Gill Sans" charset="0"/>
              </a:rPr>
              <a:t> the same process as waiving out of the plan.</a:t>
            </a:r>
          </a:p>
          <a:p>
            <a:pPr marL="0" indent="0">
              <a:buClrTx/>
              <a:buNone/>
              <a:defRPr/>
            </a:pPr>
            <a:r>
              <a:rPr lang="en-US" sz="1600" dirty="0">
                <a:solidFill>
                  <a:prstClr val="black"/>
                </a:solidFill>
                <a:ea typeface="Gill Sans" charset="0"/>
                <a:cs typeface="Gill Sans" charset="0"/>
              </a:rPr>
              <a:t>For questions, please reach out to </a:t>
            </a:r>
            <a:r>
              <a:rPr lang="en-US" sz="1600" dirty="0">
                <a:solidFill>
                  <a:srgbClr val="00859B"/>
                </a:solidFill>
                <a:ea typeface="Gill Sans" charset="0"/>
                <a:cs typeface="Gill Sans" charset="0"/>
                <a:hlinkClick r:id="rId4">
                  <a:extLst>
                    <a:ext uri="{A12FA001-AC4F-418D-AE19-62706E023703}">
                      <ahyp:hlinkClr xmlns:ahyp="http://schemas.microsoft.com/office/drawing/2018/hyperlinkcolor" val="tx"/>
                    </a:ext>
                  </a:extLst>
                </a:hlinkClick>
              </a:rPr>
              <a:t>gradhealth@oregonstate.edu</a:t>
            </a:r>
          </a:p>
        </p:txBody>
      </p:sp>
      <p:pic>
        <p:nvPicPr>
          <p:cNvPr id="3" name="Picture Placeholder 2" descr="Heart with pulse with solid fill">
            <a:extLst>
              <a:ext uri="{FF2B5EF4-FFF2-40B4-BE49-F238E27FC236}">
                <a16:creationId xmlns:a16="http://schemas.microsoft.com/office/drawing/2014/main" id="{197F6BCD-3EE7-CDDE-231F-9100E7466413}"/>
              </a:ext>
            </a:extLst>
          </p:cNvPr>
          <p:cNvPicPr>
            <a:picLocks noGrp="1" noChangeAspect="1"/>
          </p:cNvPicPr>
          <p:nvPr>
            <p:ph type="pic" sz="quarter" idx="10"/>
          </p:nvPr>
        </p:nvPicPr>
        <p:blipFill>
          <a:blip>
            <a:extLst>
              <a:ext uri="{96DAC541-7B7A-43D3-8B79-37D633B846F1}">
                <asvg:svgBlip xmlns:asvg="http://schemas.microsoft.com/office/drawing/2016/SVG/main" r:embed="rId5"/>
              </a:ext>
            </a:extLst>
          </a:blip>
          <a:srcRect t="157" b="157"/>
          <a:stretch/>
        </p:blipFill>
        <p:spPr>
          <a:xfrm>
            <a:off x="617041" y="658978"/>
            <a:ext cx="504121" cy="504122"/>
          </a:xfrm>
          <a:prstGeom prst="rect">
            <a:avLst/>
          </a:prstGeom>
        </p:spPr>
      </p:pic>
    </p:spTree>
    <p:extLst>
      <p:ext uri="{BB962C8B-B14F-4D97-AF65-F5344CB8AC3E}">
        <p14:creationId xmlns:p14="http://schemas.microsoft.com/office/powerpoint/2010/main" val="18178790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FC150-86EE-2015-8D3A-8AAC527A26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8E5581-7DFE-8896-CAE6-6C829EF357CB}"/>
              </a:ext>
            </a:extLst>
          </p:cNvPr>
          <p:cNvSpPr>
            <a:spLocks noGrp="1"/>
          </p:cNvSpPr>
          <p:nvPr>
            <p:ph type="title"/>
          </p:nvPr>
        </p:nvSpPr>
        <p:spPr/>
        <p:txBody>
          <a:bodyPr>
            <a:noAutofit/>
          </a:bodyPr>
          <a:lstStyle/>
          <a:p>
            <a:r>
              <a:rPr lang="en-US" sz="3000" dirty="0">
                <a:latin typeface="Verdana"/>
                <a:ea typeface="Verdana"/>
              </a:rPr>
              <a:t>Summer Health Insurance – Grad Employees</a:t>
            </a:r>
          </a:p>
        </p:txBody>
      </p:sp>
      <p:sp>
        <p:nvSpPr>
          <p:cNvPr id="4" name="Content Placeholder 2">
            <a:extLst>
              <a:ext uri="{FF2B5EF4-FFF2-40B4-BE49-F238E27FC236}">
                <a16:creationId xmlns:a16="http://schemas.microsoft.com/office/drawing/2014/main" id="{CD9E3586-C206-EEEE-EADA-C48640B871F5}"/>
              </a:ext>
            </a:extLst>
          </p:cNvPr>
          <p:cNvSpPr txBox="1">
            <a:spLocks/>
          </p:cNvSpPr>
          <p:nvPr/>
        </p:nvSpPr>
        <p:spPr>
          <a:xfrm>
            <a:off x="1389991" y="1471246"/>
            <a:ext cx="8796425" cy="463762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solidFill>
                  <a:prstClr val="black"/>
                </a:solidFill>
                <a:ea typeface="Gill Sans" charset="0"/>
                <a:cs typeface="Gill Sans" charset="0"/>
              </a:rPr>
              <a:t>Graduate Fellows do not prepay for summer session but have the option to opt-in and triple pay the premium in May if they are returning as a student either summer or fall term.</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lang="en-US" sz="1600" dirty="0">
              <a:solidFill>
                <a:prstClr val="black"/>
              </a:solidFill>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600" dirty="0">
                <a:solidFill>
                  <a:prstClr val="black"/>
                </a:solidFill>
                <a:ea typeface="Gill Sans" charset="0"/>
                <a:cs typeface="Gill Sans" charset="0"/>
              </a:rPr>
              <a:t>Not applicable to Postdoctoral Scholars and Clinical Fellows who only pay premiums during the months they are employed.</a:t>
            </a:r>
            <a:endParaRPr lang="en-US" dirty="0">
              <a:solidFill>
                <a:prstClr val="black"/>
              </a:solidFill>
            </a:endParaRPr>
          </a:p>
          <a:p>
            <a:pPr>
              <a:buFont typeface="Courier New,monospace"/>
              <a:buChar char="o"/>
              <a:defRPr/>
            </a:pPr>
            <a:endParaRPr lang="en-US" sz="1600" dirty="0">
              <a:solidFill>
                <a:prstClr val="black"/>
              </a:solidFill>
              <a:ea typeface="Gill Sans" charset="0"/>
              <a:cs typeface="Gill Sans" charset="0"/>
            </a:endParaRPr>
          </a:p>
          <a:p>
            <a:pPr>
              <a:buFont typeface="Courier New,monospace"/>
              <a:buChar char="o"/>
              <a:defRPr/>
            </a:pPr>
            <a:endParaRPr lang="en-US" sz="1600" dirty="0">
              <a:solidFill>
                <a:prstClr val="black"/>
              </a:solidFill>
              <a:ea typeface="Gill Sans" charset="0"/>
              <a:cs typeface="Gill Sans" charset="0"/>
            </a:endParaRPr>
          </a:p>
          <a:p>
            <a:pPr marL="0" indent="0">
              <a:buNone/>
              <a:defRPr/>
            </a:pPr>
            <a:r>
              <a:rPr lang="en-US" sz="1600" dirty="0">
                <a:solidFill>
                  <a:prstClr val="black"/>
                </a:solidFill>
                <a:ea typeface="Gill Sans" charset="0"/>
                <a:cs typeface="Gill Sans" charset="0"/>
              </a:rPr>
              <a:t>For questions, please reach out to </a:t>
            </a:r>
            <a:r>
              <a:rPr lang="en-US" sz="1600" dirty="0">
                <a:solidFill>
                  <a:srgbClr val="00859B"/>
                </a:solidFill>
                <a:ea typeface="Gill Sans" charset="0"/>
                <a:cs typeface="Gill Sans" charset="0"/>
                <a:hlinkClick r:id="rId4">
                  <a:extLst>
                    <a:ext uri="{A12FA001-AC4F-418D-AE19-62706E023703}">
                      <ahyp:hlinkClr xmlns:ahyp="http://schemas.microsoft.com/office/drawing/2018/hyperlinkcolor" val="tx"/>
                    </a:ext>
                  </a:extLst>
                </a:hlinkClick>
              </a:rPr>
              <a:t>gradhealth@oregonstate.edu</a:t>
            </a:r>
            <a:r>
              <a:rPr lang="en-US" sz="1600" dirty="0">
                <a:solidFill>
                  <a:prstClr val="black"/>
                </a:solidFill>
                <a:ea typeface="Gill Sans" charset="0"/>
                <a:cs typeface="Gill Sans" charset="0"/>
              </a:rPr>
              <a:t> </a:t>
            </a:r>
          </a:p>
          <a:p>
            <a:pPr marL="285115" indent="-285115">
              <a:lnSpc>
                <a:spcPct val="100000"/>
              </a:lnSpc>
              <a:spcBef>
                <a:spcPts val="1200"/>
              </a:spcBef>
              <a:buClrTx/>
              <a:buSzPct val="100000"/>
              <a:buFont typeface="Courier New" panose="02070309020205020404" pitchFamily="49" charset="0"/>
              <a:buChar char="•"/>
              <a:defRPr/>
            </a:pPr>
            <a:endParaRPr lang="en-US" sz="1800" dirty="0">
              <a:solidFill>
                <a:prstClr val="black"/>
              </a:solidFill>
              <a:ea typeface="Gill Sans" charset="0"/>
              <a:cs typeface="Gill Sans" charset="0"/>
            </a:endParaRPr>
          </a:p>
        </p:txBody>
      </p:sp>
      <p:pic>
        <p:nvPicPr>
          <p:cNvPr id="3" name="Picture Placeholder 2" descr="Heart with pulse with solid fill">
            <a:extLst>
              <a:ext uri="{FF2B5EF4-FFF2-40B4-BE49-F238E27FC236}">
                <a16:creationId xmlns:a16="http://schemas.microsoft.com/office/drawing/2014/main" id="{93A80042-7078-766E-B5EF-8B09307FF1D4}"/>
              </a:ext>
            </a:extLst>
          </p:cNvPr>
          <p:cNvPicPr>
            <a:picLocks noGrp="1" noChangeAspect="1"/>
          </p:cNvPicPr>
          <p:nvPr>
            <p:ph type="pic" sz="quarter" idx="10"/>
          </p:nvPr>
        </p:nvPicPr>
        <p:blipFill>
          <a:blip>
            <a:extLst>
              <a:ext uri="{96DAC541-7B7A-43D3-8B79-37D633B846F1}">
                <asvg:svgBlip xmlns:asvg="http://schemas.microsoft.com/office/drawing/2016/SVG/main" r:embed="rId5"/>
              </a:ext>
            </a:extLst>
          </a:blip>
          <a:srcRect t="157" b="157"/>
          <a:stretch/>
        </p:blipFill>
        <p:spPr>
          <a:xfrm>
            <a:off x="617041" y="658978"/>
            <a:ext cx="504121" cy="504122"/>
          </a:xfrm>
          <a:prstGeom prst="rect">
            <a:avLst/>
          </a:prstGeom>
        </p:spPr>
      </p:pic>
    </p:spTree>
    <p:extLst>
      <p:ext uri="{BB962C8B-B14F-4D97-AF65-F5344CB8AC3E}">
        <p14:creationId xmlns:p14="http://schemas.microsoft.com/office/powerpoint/2010/main" val="2776607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8F240-38D0-4D90-ACFC-BF100DD05D86}"/>
              </a:ext>
            </a:extLst>
          </p:cNvPr>
          <p:cNvSpPr>
            <a:spLocks noGrp="1"/>
          </p:cNvSpPr>
          <p:nvPr>
            <p:ph type="title"/>
          </p:nvPr>
        </p:nvSpPr>
        <p:spPr>
          <a:xfrm>
            <a:off x="1097280" y="392853"/>
            <a:ext cx="10058400" cy="3932259"/>
          </a:xfrm>
        </p:spPr>
        <p:txBody>
          <a:bodyPr>
            <a:normAutofit/>
          </a:bodyPr>
          <a:lstStyle/>
          <a:p>
            <a:pPr algn="ctr"/>
            <a:r>
              <a:rPr lang="en-US" sz="4000" b="1" dirty="0">
                <a:solidFill>
                  <a:srgbClr val="000000"/>
                </a:solidFill>
                <a:latin typeface="Verdana" panose="020B0604030504040204" pitchFamily="34" charset="0"/>
                <a:ea typeface="Verdana" panose="020B0604030504040204" pitchFamily="34" charset="0"/>
              </a:rPr>
              <a:t>Fixed-Term Academic </a:t>
            </a:r>
            <a:br>
              <a:rPr lang="en-US" sz="4000" b="1" dirty="0">
                <a:solidFill>
                  <a:srgbClr val="000000"/>
                </a:solidFill>
                <a:latin typeface="Verdana" panose="020B0604030504040204" pitchFamily="34" charset="0"/>
                <a:ea typeface="Verdana" panose="020B0604030504040204" pitchFamily="34" charset="0"/>
              </a:rPr>
            </a:br>
            <a:r>
              <a:rPr lang="en-US" sz="4000" b="1" dirty="0">
                <a:solidFill>
                  <a:srgbClr val="000000"/>
                </a:solidFill>
                <a:latin typeface="Verdana" panose="020B0604030504040204" pitchFamily="34" charset="0"/>
                <a:ea typeface="Verdana" panose="020B0604030504040204" pitchFamily="34" charset="0"/>
              </a:rPr>
              <a:t>Faculty Renewals</a:t>
            </a:r>
            <a:br>
              <a:rPr lang="en-US" sz="4000" b="1" dirty="0">
                <a:solidFill>
                  <a:srgbClr val="000000"/>
                </a:solidFill>
                <a:latin typeface="Verdana" panose="020B0604030504040204" pitchFamily="34" charset="0"/>
                <a:ea typeface="Verdana" panose="020B0604030504040204" pitchFamily="34" charset="0"/>
              </a:rPr>
            </a:br>
            <a:r>
              <a:rPr lang="en-US" sz="4000" b="1" dirty="0">
                <a:solidFill>
                  <a:srgbClr val="000000"/>
                </a:solidFill>
                <a:latin typeface="Verdana" panose="020B0604030504040204" pitchFamily="34" charset="0"/>
                <a:ea typeface="Verdana" panose="020B0604030504040204" pitchFamily="34" charset="0"/>
              </a:rPr>
              <a:t>for FY/AY 2026-27</a:t>
            </a:r>
            <a:endParaRPr lang="en-US" sz="2400" b="1"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6655450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7236" y="918628"/>
            <a:ext cx="10515600" cy="628785"/>
          </a:xfrm>
        </p:spPr>
        <p:txBody>
          <a:bodyPr>
            <a:noAutofit/>
          </a:bodyPr>
          <a:lstStyle/>
          <a:p>
            <a:r>
              <a:rPr lang="en-US" sz="3000" b="1" dirty="0">
                <a:latin typeface="Verdana" panose="020B0604030504040204" pitchFamily="34" charset="0"/>
                <a:ea typeface="Verdana" panose="020B0604030504040204" pitchFamily="34" charset="0"/>
              </a:rPr>
              <a:t>Quick Refresh: </a:t>
            </a:r>
            <a:br>
              <a:rPr lang="en-US" sz="3000" b="1" dirty="0">
                <a:latin typeface="Verdana" panose="020B0604030504040204" pitchFamily="34" charset="0"/>
                <a:ea typeface="Verdana" panose="020B0604030504040204" pitchFamily="34" charset="0"/>
              </a:rPr>
            </a:br>
            <a:r>
              <a:rPr lang="en-US" sz="3000" b="1" dirty="0">
                <a:latin typeface="Verdana" panose="020B0604030504040204" pitchFamily="34" charset="0"/>
                <a:ea typeface="Verdana" panose="020B0604030504040204" pitchFamily="34" charset="0"/>
              </a:rPr>
              <a:t>What are Fixed-Term Academic Renewals?</a:t>
            </a:r>
          </a:p>
        </p:txBody>
      </p:sp>
      <p:graphicFrame>
        <p:nvGraphicFramePr>
          <p:cNvPr id="4" name="Diagram 3"/>
          <p:cNvGraphicFramePr/>
          <p:nvPr>
            <p:extLst>
              <p:ext uri="{D42A27DB-BD31-4B8C-83A1-F6EECF244321}">
                <p14:modId xmlns:p14="http://schemas.microsoft.com/office/powerpoint/2010/main" val="1821045174"/>
              </p:ext>
            </p:extLst>
          </p:nvPr>
        </p:nvGraphicFramePr>
        <p:xfrm>
          <a:off x="742949" y="1475336"/>
          <a:ext cx="10332893" cy="45595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807728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92729C84-C8C4-4E6F-B04B-62CBC90CCDE6}"/>
              </a:ext>
            </a:extLst>
          </p:cNvPr>
          <p:cNvSpPr txBox="1">
            <a:spLocks noGrp="1"/>
          </p:cNvSpPr>
          <p:nvPr>
            <p:ph type="title"/>
          </p:nvPr>
        </p:nvSpPr>
        <p:spPr bwMode="auto">
          <a:xfrm>
            <a:off x="223333" y="468829"/>
            <a:ext cx="11725153" cy="5232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algn="l" rtl="0" eaLnBrk="1" fontAlgn="base" hangingPunct="1">
              <a:spcBef>
                <a:spcPct val="0"/>
              </a:spcBef>
              <a:spcAft>
                <a:spcPct val="0"/>
              </a:spcAft>
              <a:defRPr kumimoji="0" lang="en-US" sz="2400" b="1" i="0" u="none" strike="noStrike" kern="1200" cap="none" spc="0" normalizeH="0" baseline="0" noProof="0" dirty="0" smtClean="0">
                <a:ln>
                  <a:noFill/>
                </a:ln>
                <a:solidFill>
                  <a:prstClr val="black">
                    <a:lumMod val="65000"/>
                    <a:lumOff val="35000"/>
                  </a:prstClr>
                </a:solidFill>
                <a:effectLst/>
                <a:uLnTx/>
                <a:uFillTx/>
                <a:latin typeface="Cambria"/>
                <a:ea typeface="+mn-ea"/>
                <a:cs typeface="Cambria"/>
              </a:defRPr>
            </a:lvl1pPr>
            <a:lvl2pPr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2pPr>
            <a:lvl3pPr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3pPr>
            <a:lvl4pPr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4pPr>
            <a:lvl5pPr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5pPr>
            <a:lvl6pPr marL="457200"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6pPr>
            <a:lvl7pPr marL="914400"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7pPr>
            <a:lvl8pPr marL="1371600"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8pPr>
            <a:lvl9pPr marL="1828800"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9pPr>
          </a:lstStyle>
          <a:p>
            <a:pPr algn="ctr">
              <a:defRPr/>
            </a:pPr>
            <a:br>
              <a:rPr lang="en-US" sz="3000" dirty="0">
                <a:solidFill>
                  <a:srgbClr val="000000"/>
                </a:solidFill>
                <a:latin typeface="Verdana" panose="020B0604030504040204" pitchFamily="34" charset="0"/>
                <a:ea typeface="Verdana" panose="020B0604030504040204" pitchFamily="34" charset="0"/>
              </a:rPr>
            </a:br>
            <a:r>
              <a:rPr lang="en-US" sz="3000" dirty="0">
                <a:solidFill>
                  <a:srgbClr val="000000"/>
                </a:solidFill>
                <a:latin typeface="Verdana" panose="020B0604030504040204" pitchFamily="34" charset="0"/>
                <a:ea typeface="Verdana" panose="020B0604030504040204" pitchFamily="34" charset="0"/>
              </a:rPr>
              <a:t>2026-27 Fixed-Term Academic Faculty Renewal Timeline</a:t>
            </a:r>
          </a:p>
        </p:txBody>
      </p:sp>
      <p:graphicFrame>
        <p:nvGraphicFramePr>
          <p:cNvPr id="2" name="Diagram 1"/>
          <p:cNvGraphicFramePr/>
          <p:nvPr>
            <p:extLst>
              <p:ext uri="{D42A27DB-BD31-4B8C-83A1-F6EECF244321}">
                <p14:modId xmlns:p14="http://schemas.microsoft.com/office/powerpoint/2010/main" val="3367699590"/>
              </p:ext>
            </p:extLst>
          </p:nvPr>
        </p:nvGraphicFramePr>
        <p:xfrm>
          <a:off x="593659" y="1463039"/>
          <a:ext cx="10984500" cy="38066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p:cNvSpPr/>
          <p:nvPr/>
        </p:nvSpPr>
        <p:spPr>
          <a:xfrm>
            <a:off x="992139" y="5935863"/>
            <a:ext cx="1137768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ill Sans"/>
              </a:rPr>
              <a:t>The timeline is driven by commitments made by OSU and UAOSU via the collective bargaining process.</a:t>
            </a:r>
          </a:p>
        </p:txBody>
      </p:sp>
    </p:spTree>
    <p:extLst>
      <p:ext uri="{BB962C8B-B14F-4D97-AF65-F5344CB8AC3E}">
        <p14:creationId xmlns:p14="http://schemas.microsoft.com/office/powerpoint/2010/main" val="17808909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101436" y="693737"/>
            <a:ext cx="4480560" cy="5096279"/>
          </a:xfrm>
          <a:solidFill>
            <a:schemeClr val="accent3"/>
          </a:solidFill>
        </p:spPr>
        <p:txBody>
          <a:bodyPr>
            <a:normAutofit/>
          </a:bodyPr>
          <a:lstStyle/>
          <a:p>
            <a:pPr marL="0" indent="0">
              <a:buNone/>
            </a:pPr>
            <a:r>
              <a:rPr lang="en-US" sz="3000" b="1" dirty="0">
                <a:latin typeface="Verdana" panose="020B0604030504040204" pitchFamily="34" charset="0"/>
                <a:ea typeface="Verdana" panose="020B0604030504040204" pitchFamily="34" charset="0"/>
              </a:rPr>
              <a:t>New for AY26-27</a:t>
            </a:r>
            <a:endParaRPr lang="en-US" sz="3000" dirty="0">
              <a:latin typeface="Verdana" panose="020B0604030504040204" pitchFamily="34" charset="0"/>
              <a:ea typeface="Verdana" panose="020B0604030504040204" pitchFamily="34" charset="0"/>
            </a:endParaRPr>
          </a:p>
          <a:p>
            <a:pPr marL="230188" indent="-230188">
              <a:buFont typeface="Arial" panose="020B0604020202020204" pitchFamily="34" charset="0"/>
              <a:buChar char="•"/>
            </a:pPr>
            <a:r>
              <a:rPr lang="en-US" dirty="0">
                <a:latin typeface="Gill Sans"/>
              </a:rPr>
              <a:t>Faculty who have achieved promotion or were hired into a promoted rank are not included and are transitioning to continuous employment.</a:t>
            </a:r>
          </a:p>
          <a:p>
            <a:pPr marL="0" indent="0">
              <a:buNone/>
            </a:pPr>
            <a:endParaRPr lang="en-US" sz="2800" dirty="0"/>
          </a:p>
        </p:txBody>
      </p:sp>
      <p:sp>
        <p:nvSpPr>
          <p:cNvPr id="4" name="Title 1"/>
          <p:cNvSpPr txBox="1">
            <a:spLocks/>
          </p:cNvSpPr>
          <p:nvPr/>
        </p:nvSpPr>
        <p:spPr>
          <a:xfrm>
            <a:off x="6817723" y="490710"/>
            <a:ext cx="4914356" cy="1298357"/>
          </a:xfrm>
          <a:prstGeom prst="rect">
            <a:avLst/>
          </a:prstGeom>
        </p:spPr>
        <p:txBody>
          <a:bodyPr vert="horz" lIns="91440" tIns="45720" rIns="91440" bIns="45720" rtlCol="0" anchor="b">
            <a:normAutofit/>
          </a:bodyPr>
          <a:lstStyle>
            <a:lvl1pPr marL="0"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US" sz="3600" b="0" i="0" u="none" strike="noStrike" kern="1200" cap="none" spc="-50" normalizeH="0" baseline="0" noProof="0" dirty="0">
              <a:ln>
                <a:noFill/>
              </a:ln>
              <a:solidFill>
                <a:prstClr val="black">
                  <a:lumMod val="75000"/>
                  <a:lumOff val="25000"/>
                </a:prstClr>
              </a:solidFill>
              <a:effectLst/>
              <a:uLnTx/>
              <a:uFillTx/>
              <a:latin typeface="Calibri Light" panose="020F0302020204030204"/>
              <a:ea typeface="+mj-ea"/>
              <a:cs typeface="+mj-cs"/>
            </a:endParaRPr>
          </a:p>
        </p:txBody>
      </p:sp>
      <p:sp>
        <p:nvSpPr>
          <p:cNvPr id="5" name="Content Placeholder 2"/>
          <p:cNvSpPr txBox="1">
            <a:spLocks/>
          </p:cNvSpPr>
          <p:nvPr/>
        </p:nvSpPr>
        <p:spPr>
          <a:xfrm>
            <a:off x="6695903" y="693737"/>
            <a:ext cx="4512574" cy="5096278"/>
          </a:xfrm>
          <a:prstGeom prst="rect">
            <a:avLst/>
          </a:prstGeom>
          <a:solidFill>
            <a:schemeClr val="accent1">
              <a:lumMod val="20000"/>
              <a:lumOff val="80000"/>
            </a:schemeClr>
          </a:solidFill>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00"/>
              </a:spcAft>
              <a:buClr>
                <a:srgbClr val="D73F09"/>
              </a:buClr>
              <a:buSzPct val="100000"/>
              <a:buFont typeface="Calibri" panose="020F0502020204030204" pitchFamily="34" charset="0"/>
              <a:buNone/>
              <a:tabLst/>
              <a:defRPr/>
            </a:pPr>
            <a:r>
              <a:rPr kumimoji="0" lang="en-US" sz="3000" b="1" i="0" u="none" strike="noStrike" kern="1200" cap="none" spc="0" normalizeH="0" baseline="0" noProof="0" dirty="0">
                <a:ln>
                  <a:noFill/>
                </a:ln>
                <a:solidFill>
                  <a:prstClr val="black">
                    <a:lumMod val="75000"/>
                    <a:lumOff val="25000"/>
                  </a:prstClr>
                </a:solidFill>
                <a:effectLst/>
                <a:uLnTx/>
                <a:uFillTx/>
                <a:latin typeface="Verdana" panose="020B0604030504040204" pitchFamily="34" charset="0"/>
                <a:ea typeface="Verdana" panose="020B0604030504040204" pitchFamily="34" charset="0"/>
              </a:rPr>
              <a:t>Reminders</a:t>
            </a:r>
            <a:endParaRPr kumimoji="0" lang="en-US" sz="3000" b="0" i="0" u="none" strike="noStrike" kern="1200" cap="none" spc="0" normalizeH="0" baseline="0" noProof="0" dirty="0">
              <a:ln>
                <a:noFill/>
              </a:ln>
              <a:solidFill>
                <a:prstClr val="black">
                  <a:lumMod val="75000"/>
                  <a:lumOff val="25000"/>
                </a:prstClr>
              </a:solidFill>
              <a:effectLst/>
              <a:uLnTx/>
              <a:uFillTx/>
              <a:latin typeface="Verdana" panose="020B0604030504040204" pitchFamily="34" charset="0"/>
              <a:ea typeface="Verdana" panose="020B0604030504040204" pitchFamily="34" charset="0"/>
            </a:endParaRPr>
          </a:p>
          <a:p>
            <a:pPr marL="230188" marR="0" lvl="0" indent="-230188" algn="l" defTabSz="914400" rtl="0" eaLnBrk="1" fontAlgn="auto" latinLnBrk="0" hangingPunct="1">
              <a:lnSpc>
                <a:spcPct val="90000"/>
              </a:lnSpc>
              <a:spcBef>
                <a:spcPts val="1200"/>
              </a:spcBef>
              <a:spcAft>
                <a:spcPts val="200"/>
              </a:spcAft>
              <a:buClr>
                <a:srgbClr val="D73F09"/>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Gill Sans"/>
              </a:rPr>
              <a:t>No more Excel spreadsheets for renewals</a:t>
            </a:r>
          </a:p>
          <a:p>
            <a:pPr marL="230188" marR="0" lvl="0" indent="-230188" algn="l" defTabSz="914400" rtl="0" eaLnBrk="1" fontAlgn="auto" latinLnBrk="0" hangingPunct="1">
              <a:lnSpc>
                <a:spcPct val="90000"/>
              </a:lnSpc>
              <a:spcBef>
                <a:spcPts val="1200"/>
              </a:spcBef>
              <a:spcAft>
                <a:spcPts val="200"/>
              </a:spcAft>
              <a:buClr>
                <a:srgbClr val="D73F09"/>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Gill Sans"/>
              </a:rPr>
              <a:t>All decisions recorded in online tool</a:t>
            </a:r>
          </a:p>
          <a:p>
            <a:pPr marL="230188" marR="0" lvl="0" indent="-230188" algn="l" defTabSz="914400" rtl="0" eaLnBrk="1" fontAlgn="auto" latinLnBrk="0" hangingPunct="1">
              <a:lnSpc>
                <a:spcPct val="90000"/>
              </a:lnSpc>
              <a:spcBef>
                <a:spcPts val="1200"/>
              </a:spcBef>
              <a:spcAft>
                <a:spcPts val="200"/>
              </a:spcAft>
              <a:buClr>
                <a:srgbClr val="D73F09"/>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Gill Sans"/>
              </a:rPr>
              <a:t>Must register to use online tool before will have access</a:t>
            </a:r>
          </a:p>
          <a:p>
            <a:pPr marL="230188" marR="0" lvl="0" indent="-230188" algn="l" defTabSz="914400" rtl="0" eaLnBrk="1" fontAlgn="auto" latinLnBrk="0" hangingPunct="1">
              <a:lnSpc>
                <a:spcPct val="90000"/>
              </a:lnSpc>
              <a:spcBef>
                <a:spcPts val="1200"/>
              </a:spcBef>
              <a:spcAft>
                <a:spcPts val="200"/>
              </a:spcAft>
              <a:buClr>
                <a:srgbClr val="D73F09"/>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Gill Sans"/>
              </a:rPr>
              <a:t>Employees with pending promotions are included, but will transition to continuous employment if awarded promotion. </a:t>
            </a:r>
          </a:p>
          <a:p>
            <a:pPr marL="230188" marR="0" lvl="0" indent="-230188" algn="l" defTabSz="914400" rtl="0" eaLnBrk="1" fontAlgn="auto" latinLnBrk="0" hangingPunct="1">
              <a:lnSpc>
                <a:spcPct val="90000"/>
              </a:lnSpc>
              <a:spcBef>
                <a:spcPts val="1200"/>
              </a:spcBef>
              <a:spcAft>
                <a:spcPts val="200"/>
              </a:spcAft>
              <a:buClr>
                <a:srgbClr val="D73F09"/>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Gill Sans"/>
              </a:rPr>
              <a:t>The renewal process is not a performance management process.</a:t>
            </a:r>
          </a:p>
        </p:txBody>
      </p:sp>
    </p:spTree>
    <p:extLst>
      <p:ext uri="{BB962C8B-B14F-4D97-AF65-F5344CB8AC3E}">
        <p14:creationId xmlns:p14="http://schemas.microsoft.com/office/powerpoint/2010/main" val="16689339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000" b="1" dirty="0">
                <a:latin typeface="Verdana" panose="020B0604030504040204" pitchFamily="34" charset="0"/>
                <a:ea typeface="Verdana" panose="020B0604030504040204" pitchFamily="34" charset="0"/>
              </a:rPr>
              <a:t>Register to Use the Application</a:t>
            </a:r>
          </a:p>
        </p:txBody>
      </p:sp>
      <p:sp>
        <p:nvSpPr>
          <p:cNvPr id="3" name="Content Placeholder 2"/>
          <p:cNvSpPr>
            <a:spLocks noGrp="1"/>
          </p:cNvSpPr>
          <p:nvPr>
            <p:ph idx="1"/>
          </p:nvPr>
        </p:nvSpPr>
        <p:spPr/>
        <p:txBody>
          <a:bodyPr/>
          <a:lstStyle/>
          <a:p>
            <a:pPr marL="230188" indent="-230188">
              <a:buFont typeface="Arial" panose="020B0604020202020204" pitchFamily="34" charset="0"/>
              <a:buChar char="•"/>
            </a:pPr>
            <a:r>
              <a:rPr lang="en-US" sz="1800" dirty="0">
                <a:latin typeface="Gill Sans"/>
              </a:rPr>
              <a:t>ALWAYS use a fresh Microsoft Edge browser window. Turn off extensions such as pop-up blockers.</a:t>
            </a:r>
          </a:p>
          <a:p>
            <a:pPr marL="230188" indent="-230188">
              <a:buFont typeface="Arial" panose="020B0604020202020204" pitchFamily="34" charset="0"/>
              <a:buChar char="•"/>
            </a:pPr>
            <a:r>
              <a:rPr lang="en-US" sz="1800" dirty="0">
                <a:latin typeface="Gill Sans"/>
              </a:rPr>
              <a:t>Make sure you have registered, using instructions sent on April 8. You cannot use the online tool without registering first.</a:t>
            </a:r>
          </a:p>
          <a:p>
            <a:pPr marL="230188" indent="-230188">
              <a:buFont typeface="Arial" panose="020B0604020202020204" pitchFamily="34" charset="0"/>
              <a:buChar char="•"/>
            </a:pPr>
            <a:r>
              <a:rPr lang="en-US" sz="1800" dirty="0">
                <a:latin typeface="Gill Sans"/>
              </a:rPr>
              <a:t>Navigate to the platform at</a:t>
            </a:r>
            <a:br>
              <a:rPr lang="en-US" sz="1800" dirty="0">
                <a:latin typeface="Gill Sans"/>
              </a:rPr>
            </a:br>
            <a:r>
              <a:rPr lang="en-US" sz="1800" dirty="0">
                <a:latin typeface="Gill Sans"/>
                <a:hlinkClick r:id="rId2"/>
              </a:rPr>
              <a:t>https://ftrprocess.powerappsportals.com</a:t>
            </a:r>
            <a:endParaRPr lang="en-US" sz="1800" dirty="0">
              <a:latin typeface="Gill Sans"/>
            </a:endParaRPr>
          </a:p>
          <a:p>
            <a:pPr marL="230188" indent="-230188">
              <a:buFont typeface="Arial" panose="020B0604020202020204" pitchFamily="34" charset="0"/>
              <a:buChar char="•"/>
            </a:pPr>
            <a:r>
              <a:rPr lang="en-US" sz="1800" dirty="0">
                <a:latin typeface="Gill Sans"/>
              </a:rPr>
              <a:t>Sign in to the platform.</a:t>
            </a:r>
          </a:p>
          <a:p>
            <a:pPr marL="457200" indent="-457200">
              <a:buFont typeface="+mj-lt"/>
              <a:buAutoNum type="arabicPeriod"/>
            </a:pPr>
            <a:endParaRPr lang="en-US" dirty="0"/>
          </a:p>
          <a:p>
            <a:pPr marL="0" indent="0">
              <a:buNone/>
            </a:pPr>
            <a:r>
              <a:rPr lang="en-US" b="1" dirty="0"/>
              <a:t>	</a:t>
            </a:r>
            <a:endParaRPr lang="en-US" dirty="0"/>
          </a:p>
        </p:txBody>
      </p:sp>
      <p:pic>
        <p:nvPicPr>
          <p:cNvPr id="5" name="Picture 4"/>
          <p:cNvPicPr/>
          <p:nvPr/>
        </p:nvPicPr>
        <p:blipFill>
          <a:blip r:embed="rId3" cstate="print">
            <a:extLst>
              <a:ext uri="{28A0092B-C50C-407E-A947-70E740481C1C}">
                <a14:useLocalDpi xmlns:a14="http://schemas.microsoft.com/office/drawing/2010/main" val="0"/>
              </a:ext>
            </a:extLst>
          </a:blip>
          <a:stretch>
            <a:fillRect/>
          </a:stretch>
        </p:blipFill>
        <p:spPr>
          <a:xfrm>
            <a:off x="5765270" y="2938993"/>
            <a:ext cx="5943600" cy="3038475"/>
          </a:xfrm>
          <a:prstGeom prst="rect">
            <a:avLst/>
          </a:prstGeom>
        </p:spPr>
      </p:pic>
      <p:sp>
        <p:nvSpPr>
          <p:cNvPr id="6" name="Oval 5"/>
          <p:cNvSpPr/>
          <p:nvPr/>
        </p:nvSpPr>
        <p:spPr>
          <a:xfrm>
            <a:off x="10590348" y="2720872"/>
            <a:ext cx="616373" cy="609600"/>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 name="Straight Arrow Connector 6"/>
          <p:cNvCxnSpPr/>
          <p:nvPr/>
        </p:nvCxnSpPr>
        <p:spPr>
          <a:xfrm flipH="1">
            <a:off x="11206721" y="2423580"/>
            <a:ext cx="632777" cy="399308"/>
          </a:xfrm>
          <a:prstGeom prst="straightConnector1">
            <a:avLst/>
          </a:prstGeom>
          <a:ln w="38100">
            <a:solidFill>
              <a:schemeClr val="accent4"/>
            </a:solidFill>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527636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000" b="1" dirty="0">
                <a:latin typeface="Verdana" panose="020B0604030504040204" pitchFamily="34" charset="0"/>
                <a:ea typeface="Verdana" panose="020B0604030504040204" pitchFamily="34" charset="0"/>
              </a:rPr>
              <a:t>Log-In</a:t>
            </a:r>
          </a:p>
        </p:txBody>
      </p:sp>
      <p:sp>
        <p:nvSpPr>
          <p:cNvPr id="3" name="Content Placeholder 2"/>
          <p:cNvSpPr>
            <a:spLocks noGrp="1"/>
          </p:cNvSpPr>
          <p:nvPr>
            <p:ph idx="1"/>
          </p:nvPr>
        </p:nvSpPr>
        <p:spPr/>
        <p:txBody>
          <a:bodyPr/>
          <a:lstStyle/>
          <a:p>
            <a:pPr marL="230188" indent="-230188">
              <a:buFont typeface="Arial" panose="020B0604020202020204" pitchFamily="34" charset="0"/>
              <a:buChar char="•"/>
            </a:pPr>
            <a:r>
              <a:rPr lang="en-US" sz="1800" dirty="0">
                <a:latin typeface="Gill Sans"/>
              </a:rPr>
              <a:t>Click on Azure AD to complete your sign in.</a:t>
            </a:r>
          </a:p>
          <a:p>
            <a:pPr marL="0" indent="0">
              <a:buNone/>
            </a:pPr>
            <a:endParaRPr lang="en-US" dirty="0"/>
          </a:p>
          <a:p>
            <a:pPr marL="0" indent="0">
              <a:buNone/>
            </a:pPr>
            <a:r>
              <a:rPr lang="en-US" b="1" dirty="0"/>
              <a:t>	</a:t>
            </a:r>
            <a:endParaRPr lang="en-US" dirty="0"/>
          </a:p>
        </p:txBody>
      </p:sp>
      <p:pic>
        <p:nvPicPr>
          <p:cNvPr id="8" name="Picture 7"/>
          <p:cNvPicPr/>
          <p:nvPr/>
        </p:nvPicPr>
        <p:blipFill>
          <a:blip r:embed="rId2" cstate="print">
            <a:extLst>
              <a:ext uri="{28A0092B-C50C-407E-A947-70E740481C1C}">
                <a14:useLocalDpi xmlns:a14="http://schemas.microsoft.com/office/drawing/2010/main" val="0"/>
              </a:ext>
            </a:extLst>
          </a:blip>
          <a:stretch>
            <a:fillRect/>
          </a:stretch>
        </p:blipFill>
        <p:spPr>
          <a:xfrm>
            <a:off x="1576758" y="2448560"/>
            <a:ext cx="6847104" cy="3300518"/>
          </a:xfrm>
          <a:prstGeom prst="rect">
            <a:avLst/>
          </a:prstGeom>
        </p:spPr>
      </p:pic>
      <p:sp>
        <p:nvSpPr>
          <p:cNvPr id="6" name="Oval 5"/>
          <p:cNvSpPr/>
          <p:nvPr/>
        </p:nvSpPr>
        <p:spPr>
          <a:xfrm>
            <a:off x="2262294" y="3156375"/>
            <a:ext cx="616373" cy="609600"/>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 name="Straight Arrow Connector 6"/>
          <p:cNvCxnSpPr/>
          <p:nvPr/>
        </p:nvCxnSpPr>
        <p:spPr>
          <a:xfrm>
            <a:off x="1679787" y="2783840"/>
            <a:ext cx="479479" cy="555415"/>
          </a:xfrm>
          <a:prstGeom prst="straightConnector1">
            <a:avLst/>
          </a:prstGeom>
          <a:ln w="38100">
            <a:solidFill>
              <a:schemeClr val="accent4"/>
            </a:solidFill>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2256132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000" b="1" dirty="0">
                <a:latin typeface="Verdana" panose="020B0604030504040204" pitchFamily="34" charset="0"/>
                <a:ea typeface="Verdana" panose="020B0604030504040204" pitchFamily="34" charset="0"/>
              </a:rPr>
              <a:t>Steps to Record Renewal Decisions</a:t>
            </a:r>
          </a:p>
        </p:txBody>
      </p:sp>
      <p:sp>
        <p:nvSpPr>
          <p:cNvPr id="3" name="Content Placeholder 2"/>
          <p:cNvSpPr>
            <a:spLocks noGrp="1"/>
          </p:cNvSpPr>
          <p:nvPr>
            <p:ph idx="1"/>
          </p:nvPr>
        </p:nvSpPr>
        <p:spPr/>
        <p:txBody>
          <a:bodyPr/>
          <a:lstStyle/>
          <a:p>
            <a:pPr marL="230188" indent="-230188">
              <a:buFont typeface="Arial" panose="020B0604020202020204" pitchFamily="34" charset="0"/>
              <a:buChar char="•"/>
            </a:pPr>
            <a:r>
              <a:rPr lang="en-US" sz="1800" dirty="0">
                <a:latin typeface="Gill Sans"/>
              </a:rPr>
              <a:t>You are now signed in and will see your name in the upper right hand corner. You have access to fixed-term academic faculty in specific timesheet organizations. Again, be sure to use Microsoft Edge for all FTR tool activities.</a:t>
            </a:r>
          </a:p>
          <a:p>
            <a:pPr marL="0" indent="0">
              <a:buNone/>
            </a:pPr>
            <a:endParaRPr lang="en-US" dirty="0"/>
          </a:p>
          <a:p>
            <a:pPr marL="0" indent="0">
              <a:buNone/>
            </a:pPr>
            <a:r>
              <a:rPr lang="en-US" b="1" dirty="0"/>
              <a:t>	</a:t>
            </a:r>
            <a:endParaRPr lang="en-US" dirty="0"/>
          </a:p>
        </p:txBody>
      </p:sp>
      <p:cxnSp>
        <p:nvCxnSpPr>
          <p:cNvPr id="7" name="Straight Arrow Connector 6"/>
          <p:cNvCxnSpPr/>
          <p:nvPr/>
        </p:nvCxnSpPr>
        <p:spPr>
          <a:xfrm flipH="1">
            <a:off x="6841069" y="2471636"/>
            <a:ext cx="494451" cy="334016"/>
          </a:xfrm>
          <a:prstGeom prst="straightConnector1">
            <a:avLst/>
          </a:prstGeom>
          <a:ln w="38100">
            <a:solidFill>
              <a:schemeClr val="accent4"/>
            </a:solidFill>
            <a:tailEnd type="triangle"/>
          </a:ln>
        </p:spPr>
        <p:style>
          <a:lnRef idx="2">
            <a:schemeClr val="dk1"/>
          </a:lnRef>
          <a:fillRef idx="0">
            <a:schemeClr val="dk1"/>
          </a:fillRef>
          <a:effectRef idx="1">
            <a:schemeClr val="dk1"/>
          </a:effectRef>
          <a:fontRef idx="minor">
            <a:schemeClr val="tx1"/>
          </a:fontRef>
        </p:style>
      </p:cxnSp>
      <p:pic>
        <p:nvPicPr>
          <p:cNvPr id="10" name="Picture 9"/>
          <p:cNvPicPr/>
          <p:nvPr/>
        </p:nvPicPr>
        <p:blipFill>
          <a:blip r:embed="rId2" cstate="print">
            <a:extLst>
              <a:ext uri="{28A0092B-C50C-407E-A947-70E740481C1C}">
                <a14:useLocalDpi xmlns:a14="http://schemas.microsoft.com/office/drawing/2010/main" val="0"/>
              </a:ext>
            </a:extLst>
          </a:blip>
          <a:stretch>
            <a:fillRect/>
          </a:stretch>
        </p:blipFill>
        <p:spPr>
          <a:xfrm>
            <a:off x="1505373" y="2846923"/>
            <a:ext cx="5943600" cy="3009900"/>
          </a:xfrm>
          <a:prstGeom prst="rect">
            <a:avLst/>
          </a:prstGeom>
        </p:spPr>
      </p:pic>
      <p:sp>
        <p:nvSpPr>
          <p:cNvPr id="11" name="Oval 10"/>
          <p:cNvSpPr/>
          <p:nvPr/>
        </p:nvSpPr>
        <p:spPr>
          <a:xfrm>
            <a:off x="6278880" y="2764380"/>
            <a:ext cx="616373" cy="609600"/>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29167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000" b="1" dirty="0">
                <a:latin typeface="Verdana" panose="020B0604030504040204" pitchFamily="34" charset="0"/>
                <a:ea typeface="Verdana" panose="020B0604030504040204" pitchFamily="34" charset="0"/>
              </a:rPr>
              <a:t>Steps to Record Renewal Decisions</a:t>
            </a:r>
          </a:p>
        </p:txBody>
      </p:sp>
      <p:sp>
        <p:nvSpPr>
          <p:cNvPr id="3" name="Content Placeholder 2"/>
          <p:cNvSpPr>
            <a:spLocks noGrp="1"/>
          </p:cNvSpPr>
          <p:nvPr>
            <p:ph idx="1"/>
          </p:nvPr>
        </p:nvSpPr>
        <p:spPr/>
        <p:txBody>
          <a:bodyPr/>
          <a:lstStyle/>
          <a:p>
            <a:pPr marL="230188" indent="-230188">
              <a:buFont typeface="Arial" panose="020B0604020202020204" pitchFamily="34" charset="0"/>
              <a:buChar char="•"/>
            </a:pPr>
            <a:r>
              <a:rPr lang="en-US" sz="1800" dirty="0">
                <a:latin typeface="Gill Sans"/>
              </a:rPr>
              <a:t>Double click on any employee’s name to view their FTR record. Each person’s record must be updated separately.</a:t>
            </a:r>
          </a:p>
          <a:p>
            <a:pPr marL="0" indent="0">
              <a:buNone/>
            </a:pPr>
            <a:r>
              <a:rPr lang="en-US" b="1" dirty="0"/>
              <a:t>	</a:t>
            </a:r>
            <a:endParaRPr lang="en-US" dirty="0"/>
          </a:p>
        </p:txBody>
      </p:sp>
      <p:pic>
        <p:nvPicPr>
          <p:cNvPr id="9" name="Picture 8"/>
          <p:cNvPicPr/>
          <p:nvPr/>
        </p:nvPicPr>
        <p:blipFill>
          <a:blip r:embed="rId2" cstate="print">
            <a:extLst>
              <a:ext uri="{28A0092B-C50C-407E-A947-70E740481C1C}">
                <a14:useLocalDpi xmlns:a14="http://schemas.microsoft.com/office/drawing/2010/main" val="0"/>
              </a:ext>
            </a:extLst>
          </a:blip>
          <a:stretch>
            <a:fillRect/>
          </a:stretch>
        </p:blipFill>
        <p:spPr>
          <a:xfrm>
            <a:off x="1373297" y="2643718"/>
            <a:ext cx="5943600" cy="3009900"/>
          </a:xfrm>
          <a:prstGeom prst="rect">
            <a:avLst/>
          </a:prstGeom>
        </p:spPr>
      </p:pic>
      <p:sp>
        <p:nvSpPr>
          <p:cNvPr id="6" name="Oval 5"/>
          <p:cNvSpPr/>
          <p:nvPr/>
        </p:nvSpPr>
        <p:spPr>
          <a:xfrm>
            <a:off x="694267" y="5174211"/>
            <a:ext cx="7454053" cy="732772"/>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 Box 2"/>
          <p:cNvSpPr txBox="1">
            <a:spLocks noChangeArrowheads="1"/>
          </p:cNvSpPr>
          <p:nvPr/>
        </p:nvSpPr>
        <p:spPr bwMode="auto">
          <a:xfrm>
            <a:off x="4564169" y="6014407"/>
            <a:ext cx="3319992" cy="254315"/>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lvl="0" indent="0" algn="l" defTabSz="914400" rtl="0" eaLnBrk="1" fontAlgn="auto" latinLnBrk="0" hangingPunct="1">
              <a:lnSpc>
                <a:spcPct val="116000"/>
              </a:lnSpc>
              <a:spcBef>
                <a:spcPts val="0"/>
              </a:spcBef>
              <a:spcAft>
                <a:spcPts val="80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ptos"/>
                <a:ea typeface="Times New Roman" panose="02020603050405020304" pitchFamily="18" charset="0"/>
                <a:cs typeface="Times New Roman" panose="02020603050405020304" pitchFamily="18" charset="0"/>
              </a:rPr>
              <a:t>This field will only populate if an end date is in Banner</a:t>
            </a:r>
            <a:endParaRPr kumimoji="0" lang="en-US" sz="1200" b="0" i="0" u="none" strike="noStrike" kern="1200" cap="none" spc="0" normalizeH="0" baseline="0" noProof="0" dirty="0">
              <a:ln>
                <a:noFill/>
              </a:ln>
              <a:solidFill>
                <a:prstClr val="black"/>
              </a:solidFill>
              <a:effectLst/>
              <a:uLnTx/>
              <a:uFillTx/>
              <a:latin typeface="Aptos"/>
              <a:ea typeface="Times New Roman" panose="02020603050405020304" pitchFamily="18" charset="0"/>
              <a:cs typeface="Times New Roman" panose="02020603050405020304" pitchFamily="18" charset="0"/>
            </a:endParaRPr>
          </a:p>
        </p:txBody>
      </p:sp>
      <p:cxnSp>
        <p:nvCxnSpPr>
          <p:cNvPr id="7" name="Straight Arrow Connector 6"/>
          <p:cNvCxnSpPr/>
          <p:nvPr/>
        </p:nvCxnSpPr>
        <p:spPr>
          <a:xfrm flipV="1">
            <a:off x="5574454" y="5540587"/>
            <a:ext cx="60960" cy="473821"/>
          </a:xfrm>
          <a:prstGeom prst="straightConnector1">
            <a:avLst/>
          </a:prstGeom>
          <a:ln w="38100">
            <a:solidFill>
              <a:schemeClr val="accent4"/>
            </a:solidFill>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339180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1">
            <a:extLst>
              <a:ext uri="{FF2B5EF4-FFF2-40B4-BE49-F238E27FC236}">
                <a16:creationId xmlns:a16="http://schemas.microsoft.com/office/drawing/2014/main" id="{D7BE7717-C57C-314A-A83E-498187191257}"/>
              </a:ext>
            </a:extLst>
          </p:cNvPr>
          <p:cNvSpPr>
            <a:spLocks noGrp="1"/>
          </p:cNvSpPr>
          <p:nvPr>
            <p:ph type="title"/>
          </p:nvPr>
        </p:nvSpPr>
        <p:spPr>
          <a:xfrm>
            <a:off x="1484869" y="667821"/>
            <a:ext cx="9879563" cy="494927"/>
          </a:xfrm>
        </p:spPr>
        <p:txBody>
          <a:bodyPr>
            <a:noAutofit/>
          </a:bodyPr>
          <a:lstStyle/>
          <a:p>
            <a:r>
              <a:rPr lang="en-US" sz="3000" dirty="0"/>
              <a:t>General Information</a:t>
            </a:r>
          </a:p>
        </p:txBody>
      </p:sp>
      <p:pic>
        <p:nvPicPr>
          <p:cNvPr id="8" name="Picture Placeholder 7" descr="Information outline">
            <a:extLst>
              <a:ext uri="{FF2B5EF4-FFF2-40B4-BE49-F238E27FC236}">
                <a16:creationId xmlns:a16="http://schemas.microsoft.com/office/drawing/2014/main" id="{3A898FB8-FD83-6994-8965-C62AE9A70E0B}"/>
              </a:ext>
            </a:extLst>
          </p:cNvPr>
          <p:cNvPicPr>
            <a:picLocks noGrp="1" noChangeAspect="1"/>
          </p:cNvPicPr>
          <p:nvPr>
            <p:ph type="pic" sz="quarter" idx="10"/>
          </p:nvPr>
        </p:nvPicPr>
        <p:blipFill>
          <a:blip>
            <a:extLst>
              <a:ext uri="{96DAC541-7B7A-43D3-8B79-37D633B846F1}">
                <asvg:svgBlip xmlns:asvg="http://schemas.microsoft.com/office/drawing/2016/SVG/main" r:embed="rId3"/>
              </a:ext>
            </a:extLst>
          </a:blip>
          <a:srcRect t="157" b="157"/>
          <a:stretch>
            <a:fillRect/>
          </a:stretch>
        </p:blipFill>
        <p:spPr>
          <a:xfrm>
            <a:off x="595423" y="631120"/>
            <a:ext cx="542260" cy="542261"/>
          </a:xfrm>
        </p:spPr>
      </p:pic>
      <p:pic>
        <p:nvPicPr>
          <p:cNvPr id="27" name="Picture 26" descr="&quot;&quot;">
            <a:extLst>
              <a:ext uri="{FF2B5EF4-FFF2-40B4-BE49-F238E27FC236}">
                <a16:creationId xmlns:a16="http://schemas.microsoft.com/office/drawing/2014/main" id="{A2F275DB-A0AD-0143-AF80-F3A41A56B35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84734" y="1173381"/>
            <a:ext cx="607942" cy="607942"/>
          </a:xfrm>
          <a:prstGeom prst="rect">
            <a:avLst/>
          </a:prstGeom>
        </p:spPr>
      </p:pic>
      <p:pic>
        <p:nvPicPr>
          <p:cNvPr id="37" name="Picture 36" descr="&quot;&quot;">
            <a:extLst>
              <a:ext uri="{FF2B5EF4-FFF2-40B4-BE49-F238E27FC236}">
                <a16:creationId xmlns:a16="http://schemas.microsoft.com/office/drawing/2014/main" id="{F2FD1228-5240-B844-B5AB-F3F69A45CD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00954" y="2098257"/>
            <a:ext cx="607942" cy="607942"/>
          </a:xfrm>
          <a:prstGeom prst="rect">
            <a:avLst/>
          </a:prstGeom>
        </p:spPr>
      </p:pic>
      <p:sp>
        <p:nvSpPr>
          <p:cNvPr id="2" name="Content Placeholder 2">
            <a:extLst>
              <a:ext uri="{FF2B5EF4-FFF2-40B4-BE49-F238E27FC236}">
                <a16:creationId xmlns:a16="http://schemas.microsoft.com/office/drawing/2014/main" id="{732ED967-487D-8A73-6453-359B65E18790}"/>
              </a:ext>
            </a:extLst>
          </p:cNvPr>
          <p:cNvSpPr txBox="1">
            <a:spLocks/>
          </p:cNvSpPr>
          <p:nvPr/>
        </p:nvSpPr>
        <p:spPr>
          <a:xfrm>
            <a:off x="1314683" y="1471573"/>
            <a:ext cx="8990605" cy="500309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r>
              <a:rPr kumimoji="0" lang="en-US" sz="1600" b="0" i="0" u="none" strike="noStrike" kern="1200" cap="none" spc="0" normalizeH="0" baseline="0" noProof="0" dirty="0">
                <a:ln>
                  <a:noFill/>
                </a:ln>
                <a:solidFill>
                  <a:prstClr val="black"/>
                </a:solidFill>
                <a:effectLst/>
                <a:uLnTx/>
                <a:uFillTx/>
                <a:latin typeface="Gill Sans"/>
                <a:ea typeface="Gill Sans" charset="0"/>
                <a:cs typeface="Gill Sans" charset="0"/>
              </a:rPr>
              <a:t>You can raise your hand or put your questions in the chat</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endParaRPr kumimoji="0" lang="en-US" sz="1600" b="0" i="0" u="none" strike="noStrike" kern="1200" cap="none" spc="0" normalizeH="0" baseline="0" noProof="0" dirty="0">
              <a:ln>
                <a:noFill/>
              </a:ln>
              <a:solidFill>
                <a:prstClr val="black"/>
              </a:solidFill>
              <a:effectLst/>
              <a:uLnTx/>
              <a:uFillTx/>
              <a:latin typeface="Gill Sans"/>
              <a:ea typeface="Gill Sans" charset="0"/>
              <a:cs typeface="Gill Sans" charset="0"/>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r>
              <a:rPr kumimoji="0" lang="en-US" sz="1600" b="0" i="0" u="none" strike="noStrike" kern="1200" cap="none" spc="0" normalizeH="0" baseline="0" noProof="0" dirty="0">
                <a:ln>
                  <a:noFill/>
                </a:ln>
                <a:solidFill>
                  <a:prstClr val="black"/>
                </a:solidFill>
                <a:effectLst/>
                <a:uLnTx/>
                <a:uFillTx/>
                <a:latin typeface="Gill Sans"/>
                <a:ea typeface="Gill Sans" charset="0"/>
                <a:cs typeface="Gill Sans" charset="0"/>
              </a:rPr>
              <a:t>Forums are always recorded</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endParaRPr kumimoji="0" lang="en-US" sz="1600" b="0" i="0" u="none" strike="noStrike" kern="1200" cap="none" spc="0" normalizeH="0" baseline="0" noProof="0" dirty="0">
              <a:ln>
                <a:noFill/>
              </a:ln>
              <a:solidFill>
                <a:prstClr val="black"/>
              </a:solidFill>
              <a:effectLst/>
              <a:uLnTx/>
              <a:uFillTx/>
              <a:latin typeface="Gill Sans"/>
              <a:ea typeface="+mn-lt"/>
              <a:cs typeface="+mn-lt"/>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r>
              <a:rPr kumimoji="0" lang="en-US" sz="1600" b="0" i="0" u="none" strike="noStrike" kern="1200" cap="none" spc="0" normalizeH="0" baseline="0" noProof="0" dirty="0">
                <a:ln>
                  <a:noFill/>
                </a:ln>
                <a:solidFill>
                  <a:prstClr val="black"/>
                </a:solidFill>
                <a:effectLst/>
                <a:uLnTx/>
                <a:uFillTx/>
                <a:latin typeface="Gill Sans"/>
                <a:ea typeface="+mn-lt"/>
                <a:cs typeface="+mn-lt"/>
              </a:rPr>
              <a:t>You can find recordings and slides for each forum on the </a:t>
            </a:r>
            <a:r>
              <a:rPr kumimoji="0" lang="en-US" sz="1600" b="0" i="0" u="none" strike="noStrike" kern="1200" cap="none" spc="0" normalizeH="0" baseline="0" noProof="0" dirty="0">
                <a:ln>
                  <a:noFill/>
                </a:ln>
                <a:solidFill>
                  <a:srgbClr val="00859B"/>
                </a:solidFill>
                <a:effectLst/>
                <a:uLnTx/>
                <a:uFillTx/>
                <a:latin typeface="Gill Sans"/>
                <a:ea typeface="+mn-lt"/>
                <a:cs typeface="+mn-lt"/>
                <a:hlinkClick r:id="rId7">
                  <a:extLst>
                    <a:ext uri="{A12FA001-AC4F-418D-AE19-62706E023703}">
                      <ahyp:hlinkClr xmlns:ahyp="http://schemas.microsoft.com/office/drawing/2018/hyperlinkcolor" val="tx"/>
                    </a:ext>
                  </a:extLst>
                </a:hlinkClick>
              </a:rPr>
              <a:t>UHR Calendar and Communications website</a:t>
            </a:r>
            <a:r>
              <a:rPr lang="en-US" sz="1600" dirty="0">
                <a:solidFill>
                  <a:prstClr val="black"/>
                </a:solidFill>
                <a:latin typeface="Gill Sans"/>
                <a:ea typeface="+mn-lt"/>
                <a:cs typeface="+mn-lt"/>
              </a:rPr>
              <a:t>. L</a:t>
            </a:r>
            <a:r>
              <a:rPr kumimoji="0" lang="en-US" sz="1600" b="0" i="0" u="none" strike="noStrike" kern="1200" cap="none" spc="0" normalizeH="0" baseline="0" noProof="0" dirty="0">
                <a:ln>
                  <a:noFill/>
                </a:ln>
                <a:solidFill>
                  <a:prstClr val="black"/>
                </a:solidFill>
                <a:effectLst/>
                <a:uLnTx/>
                <a:uFillTx/>
                <a:latin typeface="Gill Sans"/>
                <a:ea typeface="+mn-lt"/>
                <a:cs typeface="+mn-lt"/>
              </a:rPr>
              <a:t>inks and topics for future sessions are also listed there.</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endParaRPr kumimoji="0" lang="en-US" sz="1600" b="0" i="0" u="none" strike="noStrike" kern="1200" cap="none" spc="0" normalizeH="0" baseline="0" noProof="0" dirty="0">
              <a:ln>
                <a:noFill/>
              </a:ln>
              <a:solidFill>
                <a:prstClr val="black"/>
              </a:solidFill>
              <a:effectLst/>
              <a:uLnTx/>
              <a:uFillTx/>
              <a:latin typeface="Gill Sans"/>
              <a:ea typeface="Gill Sans" charset="0"/>
              <a:cs typeface="Gill Sans" charset="0"/>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r>
              <a:rPr kumimoji="0" lang="en-US" sz="1600" b="0" i="0" u="none" strike="noStrike" kern="1200" cap="none" spc="0" normalizeH="0" baseline="0" noProof="0" dirty="0">
                <a:ln>
                  <a:noFill/>
                </a:ln>
                <a:solidFill>
                  <a:prstClr val="black"/>
                </a:solidFill>
                <a:effectLst/>
                <a:uLnTx/>
                <a:uFillTx/>
                <a:latin typeface="Gill Sans"/>
                <a:ea typeface="Gill Sans" charset="0"/>
                <a:cs typeface="Gill Sans" charset="0"/>
              </a:rPr>
              <a:t>This forum’s recording and slides will be emailed along with the registration link and list of topics for the next forum</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6"/>
              </a:buBlip>
              <a:tabLst/>
              <a:defRPr/>
            </a:pPr>
            <a:endParaRPr kumimoji="0" lang="en-US" sz="2400" b="0" i="0" u="none" strike="noStrike" kern="1200" cap="none" spc="0" normalizeH="0" baseline="0" noProof="0" dirty="0">
              <a:ln>
                <a:noFill/>
              </a:ln>
              <a:solidFill>
                <a:prstClr val="black"/>
              </a:solidFill>
              <a:effectLst/>
              <a:uLnTx/>
              <a:uFillTx/>
              <a:latin typeface="Gill Sans" charset="0"/>
              <a:ea typeface="Gill Sans" charset="0"/>
              <a:cs typeface="Gill Sans" charset="0"/>
            </a:endParaRPr>
          </a:p>
        </p:txBody>
      </p:sp>
      <p:pic>
        <p:nvPicPr>
          <p:cNvPr id="3" name="Picture 2">
            <a:extLst>
              <a:ext uri="{FF2B5EF4-FFF2-40B4-BE49-F238E27FC236}">
                <a16:creationId xmlns:a16="http://schemas.microsoft.com/office/drawing/2014/main" id="{7E371D3B-3616-1A22-5A76-56F2A2421013}"/>
              </a:ext>
            </a:extLst>
          </p:cNvPr>
          <p:cNvPicPr>
            <a:picLocks noChangeAspect="1"/>
          </p:cNvPicPr>
          <p:nvPr/>
        </p:nvPicPr>
        <p:blipFill>
          <a:blip r:embed="rId8"/>
          <a:stretch>
            <a:fillRect/>
          </a:stretch>
        </p:blipFill>
        <p:spPr>
          <a:xfrm rot="5400000">
            <a:off x="6277850" y="3207346"/>
            <a:ext cx="613767" cy="613767"/>
          </a:xfrm>
          <a:prstGeom prst="rect">
            <a:avLst/>
          </a:prstGeom>
        </p:spPr>
      </p:pic>
      <p:pic>
        <p:nvPicPr>
          <p:cNvPr id="5" name="Graphic 4" descr="Email outline">
            <a:extLst>
              <a:ext uri="{FF2B5EF4-FFF2-40B4-BE49-F238E27FC236}">
                <a16:creationId xmlns:a16="http://schemas.microsoft.com/office/drawing/2014/main" id="{011B1DF6-FDC0-BB83-7AEE-CBA047E769D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00733" y="4081630"/>
            <a:ext cx="607942" cy="607942"/>
          </a:xfrm>
          <a:prstGeom prst="rect">
            <a:avLst/>
          </a:prstGeom>
        </p:spPr>
      </p:pic>
    </p:spTree>
    <p:extLst>
      <p:ext uri="{BB962C8B-B14F-4D97-AF65-F5344CB8AC3E}">
        <p14:creationId xmlns:p14="http://schemas.microsoft.com/office/powerpoint/2010/main" val="34415499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p:cNvPicPr/>
          <p:nvPr/>
        </p:nvPicPr>
        <p:blipFill>
          <a:blip r:embed="rId2" cstate="print">
            <a:extLst>
              <a:ext uri="{28A0092B-C50C-407E-A947-70E740481C1C}">
                <a14:useLocalDpi xmlns:a14="http://schemas.microsoft.com/office/drawing/2010/main" val="0"/>
              </a:ext>
            </a:extLst>
          </a:blip>
          <a:stretch>
            <a:fillRect/>
          </a:stretch>
        </p:blipFill>
        <p:spPr>
          <a:xfrm>
            <a:off x="5401733" y="3288291"/>
            <a:ext cx="5943600" cy="2790825"/>
          </a:xfrm>
          <a:prstGeom prst="rect">
            <a:avLst/>
          </a:prstGeom>
        </p:spPr>
      </p:pic>
      <p:sp>
        <p:nvSpPr>
          <p:cNvPr id="2" name="Title 1"/>
          <p:cNvSpPr>
            <a:spLocks noGrp="1"/>
          </p:cNvSpPr>
          <p:nvPr>
            <p:ph type="title"/>
          </p:nvPr>
        </p:nvSpPr>
        <p:spPr>
          <a:xfrm>
            <a:off x="690615" y="174912"/>
            <a:ext cx="5168318" cy="1382955"/>
          </a:xfrm>
        </p:spPr>
        <p:txBody>
          <a:bodyPr>
            <a:normAutofit/>
          </a:bodyPr>
          <a:lstStyle/>
          <a:p>
            <a:r>
              <a:rPr lang="en-US" sz="3000" b="1" dirty="0">
                <a:latin typeface="Verdana" panose="020B0604030504040204" pitchFamily="34" charset="0"/>
                <a:ea typeface="Verdana" panose="020B0604030504040204" pitchFamily="34" charset="0"/>
              </a:rPr>
              <a:t>Steps to Record Renewal Decisions</a:t>
            </a:r>
          </a:p>
        </p:txBody>
      </p:sp>
      <p:sp>
        <p:nvSpPr>
          <p:cNvPr id="3" name="Content Placeholder 2"/>
          <p:cNvSpPr>
            <a:spLocks noGrp="1"/>
          </p:cNvSpPr>
          <p:nvPr>
            <p:ph idx="1"/>
          </p:nvPr>
        </p:nvSpPr>
        <p:spPr>
          <a:xfrm>
            <a:off x="536916" y="2222750"/>
            <a:ext cx="4811450" cy="4070562"/>
          </a:xfrm>
        </p:spPr>
        <p:txBody>
          <a:bodyPr>
            <a:normAutofit/>
          </a:bodyPr>
          <a:lstStyle/>
          <a:p>
            <a:pPr marL="230188" indent="-230188">
              <a:buFont typeface="Arial" panose="020B0604020202020204" pitchFamily="34" charset="0"/>
              <a:buChar char="•"/>
            </a:pPr>
            <a:r>
              <a:rPr lang="en-US" sz="1800" dirty="0">
                <a:latin typeface="Gill Sans"/>
              </a:rPr>
              <a:t>Select the correct status using the status select drop-down menu and the instructions sent on April 8.</a:t>
            </a:r>
          </a:p>
          <a:p>
            <a:pPr marL="230188" indent="-230188">
              <a:buFont typeface="Arial" panose="020B0604020202020204" pitchFamily="34" charset="0"/>
              <a:buChar char="•"/>
            </a:pPr>
            <a:r>
              <a:rPr lang="en-US" sz="1800" dirty="0">
                <a:latin typeface="Gill Sans"/>
              </a:rPr>
              <a:t>Decisions must be recorded one by one.</a:t>
            </a:r>
          </a:p>
          <a:p>
            <a:pPr marL="0" indent="0">
              <a:buNone/>
            </a:pPr>
            <a:endParaRPr lang="en-US" dirty="0"/>
          </a:p>
          <a:p>
            <a:pPr marL="0" indent="0">
              <a:buNone/>
            </a:pPr>
            <a:r>
              <a:rPr lang="en-US" b="1" dirty="0"/>
              <a:t>	</a:t>
            </a:r>
            <a:endParaRPr lang="en-US" dirty="0"/>
          </a:p>
        </p:txBody>
      </p:sp>
      <p:sp>
        <p:nvSpPr>
          <p:cNvPr id="19" name="Rectangle 15"/>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ectangle 16"/>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8" name="Picture 27"/>
          <p:cNvPicPr/>
          <p:nvPr/>
        </p:nvPicPr>
        <p:blipFill>
          <a:blip r:embed="rId3" cstate="print">
            <a:extLst>
              <a:ext uri="{28A0092B-C50C-407E-A947-70E740481C1C}">
                <a14:useLocalDpi xmlns:a14="http://schemas.microsoft.com/office/drawing/2010/main" val="0"/>
              </a:ext>
            </a:extLst>
          </a:blip>
          <a:stretch>
            <a:fillRect/>
          </a:stretch>
        </p:blipFill>
        <p:spPr>
          <a:xfrm>
            <a:off x="5428417" y="1135971"/>
            <a:ext cx="5943600" cy="3019425"/>
          </a:xfrm>
          <a:prstGeom prst="rect">
            <a:avLst/>
          </a:prstGeom>
        </p:spPr>
      </p:pic>
      <p:sp>
        <p:nvSpPr>
          <p:cNvPr id="6" name="Oval 5"/>
          <p:cNvSpPr/>
          <p:nvPr/>
        </p:nvSpPr>
        <p:spPr>
          <a:xfrm>
            <a:off x="5289973" y="4402667"/>
            <a:ext cx="5499946" cy="1234465"/>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9" name="Straight Arrow Connector 28"/>
          <p:cNvCxnSpPr/>
          <p:nvPr/>
        </p:nvCxnSpPr>
        <p:spPr>
          <a:xfrm flipH="1" flipV="1">
            <a:off x="9401387" y="4319380"/>
            <a:ext cx="940330" cy="384825"/>
          </a:xfrm>
          <a:prstGeom prst="straightConnector1">
            <a:avLst/>
          </a:prstGeom>
          <a:ln w="28575">
            <a:solidFill>
              <a:schemeClr val="accent4"/>
            </a:solidFill>
            <a:tailEnd type="triangle"/>
          </a:ln>
        </p:spPr>
        <p:style>
          <a:lnRef idx="2">
            <a:schemeClr val="dk1"/>
          </a:lnRef>
          <a:fillRef idx="0">
            <a:schemeClr val="dk1"/>
          </a:fillRef>
          <a:effectRef idx="1">
            <a:schemeClr val="dk1"/>
          </a:effectRef>
          <a:fontRef idx="minor">
            <a:schemeClr val="tx1"/>
          </a:fontRef>
        </p:style>
      </p:cxnSp>
      <p:sp>
        <p:nvSpPr>
          <p:cNvPr id="30" name="Text Box 2"/>
          <p:cNvSpPr txBox="1">
            <a:spLocks noChangeArrowheads="1"/>
          </p:cNvSpPr>
          <p:nvPr/>
        </p:nvSpPr>
        <p:spPr bwMode="auto">
          <a:xfrm>
            <a:off x="9044120" y="4577391"/>
            <a:ext cx="2354580" cy="716543"/>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spAutoFit/>
          </a:bodyPr>
          <a:lstStyle/>
          <a:p>
            <a:pPr marL="0" marR="0" lvl="0" indent="0" algn="l" defTabSz="914400" rtl="0" eaLnBrk="1" fontAlgn="auto" latinLnBrk="0" hangingPunct="1">
              <a:lnSpc>
                <a:spcPct val="116000"/>
              </a:lnSpc>
              <a:spcBef>
                <a:spcPts val="0"/>
              </a:spcBef>
              <a:spcAft>
                <a:spcPts val="8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a:ea typeface="Times New Roman" panose="02020603050405020304" pitchFamily="18" charset="0"/>
                <a:cs typeface="Times New Roman" panose="02020603050405020304" pitchFamily="18" charset="0"/>
              </a:rPr>
              <a:t>New dates info will populate once a decision has been made.</a:t>
            </a:r>
          </a:p>
        </p:txBody>
      </p:sp>
      <p:sp>
        <p:nvSpPr>
          <p:cNvPr id="31" name="Oval 30"/>
          <p:cNvSpPr/>
          <p:nvPr/>
        </p:nvSpPr>
        <p:spPr>
          <a:xfrm>
            <a:off x="5945611" y="5084568"/>
            <a:ext cx="819150" cy="372745"/>
          </a:xfrm>
          <a:prstGeom prst="ellipse">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2" name="Straight Arrow Connector 31"/>
          <p:cNvCxnSpPr/>
          <p:nvPr/>
        </p:nvCxnSpPr>
        <p:spPr>
          <a:xfrm flipH="1" flipV="1">
            <a:off x="6736929" y="5309165"/>
            <a:ext cx="422379" cy="327967"/>
          </a:xfrm>
          <a:prstGeom prst="straightConnector1">
            <a:avLst/>
          </a:prstGeom>
          <a:ln w="28575">
            <a:solidFill>
              <a:schemeClr val="accent4"/>
            </a:solidFill>
            <a:tailEnd type="triangle"/>
          </a:ln>
        </p:spPr>
        <p:style>
          <a:lnRef idx="2">
            <a:schemeClr val="dk1"/>
          </a:lnRef>
          <a:fillRef idx="0">
            <a:schemeClr val="dk1"/>
          </a:fillRef>
          <a:effectRef idx="1">
            <a:schemeClr val="dk1"/>
          </a:effectRef>
          <a:fontRef idx="minor">
            <a:schemeClr val="tx1"/>
          </a:fontRef>
        </p:style>
      </p:cxnSp>
      <p:sp>
        <p:nvSpPr>
          <p:cNvPr id="38" name="Rectangle 37"/>
          <p:cNvSpPr/>
          <p:nvPr/>
        </p:nvSpPr>
        <p:spPr>
          <a:xfrm>
            <a:off x="8466137" y="2777384"/>
            <a:ext cx="746125" cy="123825"/>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Rectangle 38"/>
          <p:cNvSpPr/>
          <p:nvPr/>
        </p:nvSpPr>
        <p:spPr>
          <a:xfrm>
            <a:off x="9595592" y="2777384"/>
            <a:ext cx="746125" cy="123825"/>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Rectangle 39"/>
          <p:cNvSpPr/>
          <p:nvPr/>
        </p:nvSpPr>
        <p:spPr>
          <a:xfrm>
            <a:off x="6187599" y="3226379"/>
            <a:ext cx="746125" cy="123825"/>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Text Box 2"/>
          <p:cNvSpPr txBox="1">
            <a:spLocks noChangeArrowheads="1"/>
          </p:cNvSpPr>
          <p:nvPr/>
        </p:nvSpPr>
        <p:spPr bwMode="auto">
          <a:xfrm>
            <a:off x="6560661" y="5637132"/>
            <a:ext cx="2354580" cy="609600"/>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spAutoFit/>
          </a:bodyPr>
          <a:lstStyle/>
          <a:p>
            <a:pPr marL="0" marR="0" lvl="0" indent="0" algn="l" defTabSz="914400" rtl="0" eaLnBrk="1" fontAlgn="auto" latinLnBrk="0" hangingPunct="1">
              <a:lnSpc>
                <a:spcPct val="116000"/>
              </a:lnSpc>
              <a:spcBef>
                <a:spcPts val="0"/>
              </a:spcBef>
              <a:spcAft>
                <a:spcPts val="8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a:ea typeface="Times New Roman" panose="02020603050405020304" pitchFamily="18" charset="0"/>
                <a:cs typeface="Times New Roman" panose="02020603050405020304" pitchFamily="18" charset="0"/>
              </a:rPr>
              <a:t>Decisions are made using the Status Select dropdown. </a:t>
            </a:r>
          </a:p>
        </p:txBody>
      </p:sp>
    </p:spTree>
    <p:extLst>
      <p:ext uri="{BB962C8B-B14F-4D97-AF65-F5344CB8AC3E}">
        <p14:creationId xmlns:p14="http://schemas.microsoft.com/office/powerpoint/2010/main" val="38449983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p:nvPr/>
        </p:nvPicPr>
        <p:blipFill>
          <a:blip r:embed="rId2" cstate="print">
            <a:extLst>
              <a:ext uri="{28A0092B-C50C-407E-A947-70E740481C1C}">
                <a14:useLocalDpi xmlns:a14="http://schemas.microsoft.com/office/drawing/2010/main" val="0"/>
              </a:ext>
            </a:extLst>
          </a:blip>
          <a:stretch>
            <a:fillRect/>
          </a:stretch>
        </p:blipFill>
        <p:spPr>
          <a:xfrm>
            <a:off x="5406813" y="2738793"/>
            <a:ext cx="5943600" cy="3038475"/>
          </a:xfrm>
          <a:prstGeom prst="rect">
            <a:avLst/>
          </a:prstGeom>
        </p:spPr>
      </p:pic>
      <p:sp>
        <p:nvSpPr>
          <p:cNvPr id="2" name="Title 1"/>
          <p:cNvSpPr>
            <a:spLocks noGrp="1"/>
          </p:cNvSpPr>
          <p:nvPr>
            <p:ph type="title"/>
          </p:nvPr>
        </p:nvSpPr>
        <p:spPr>
          <a:xfrm>
            <a:off x="690615" y="174912"/>
            <a:ext cx="5168318" cy="1382955"/>
          </a:xfrm>
        </p:spPr>
        <p:txBody>
          <a:bodyPr>
            <a:normAutofit/>
          </a:bodyPr>
          <a:lstStyle/>
          <a:p>
            <a:r>
              <a:rPr lang="en-US" sz="3000" b="1" dirty="0">
                <a:latin typeface="Verdana" panose="020B0604030504040204" pitchFamily="34" charset="0"/>
                <a:ea typeface="Verdana" panose="020B0604030504040204" pitchFamily="34" charset="0"/>
              </a:rPr>
              <a:t>Steps to Record Renewal Decisions</a:t>
            </a:r>
          </a:p>
        </p:txBody>
      </p:sp>
      <p:sp>
        <p:nvSpPr>
          <p:cNvPr id="3" name="Content Placeholder 2"/>
          <p:cNvSpPr>
            <a:spLocks noGrp="1"/>
          </p:cNvSpPr>
          <p:nvPr>
            <p:ph idx="1"/>
          </p:nvPr>
        </p:nvSpPr>
        <p:spPr>
          <a:xfrm>
            <a:off x="536916" y="2222750"/>
            <a:ext cx="4811450" cy="4070562"/>
          </a:xfrm>
        </p:spPr>
        <p:txBody>
          <a:bodyPr>
            <a:normAutofit/>
          </a:bodyPr>
          <a:lstStyle/>
          <a:p>
            <a:pPr marL="230188" indent="-230188">
              <a:buFont typeface="Arial" panose="020B0604020202020204" pitchFamily="34" charset="0"/>
              <a:buChar char="•"/>
            </a:pPr>
            <a:r>
              <a:rPr lang="en-US" sz="1800" dirty="0">
                <a:latin typeface="Gill Sans"/>
              </a:rPr>
              <a:t>Entering “renewal” on a 9-month appointment will populate a date dropdown field for your entry</a:t>
            </a:r>
          </a:p>
          <a:p>
            <a:pPr marL="230188" indent="-230188">
              <a:buFont typeface="Arial" panose="020B0604020202020204" pitchFamily="34" charset="0"/>
              <a:buChar char="•"/>
            </a:pPr>
            <a:r>
              <a:rPr lang="en-US" sz="1800" dirty="0">
                <a:latin typeface="Gill Sans"/>
              </a:rPr>
              <a:t>You must select a renewal date.</a:t>
            </a:r>
          </a:p>
          <a:p>
            <a:pPr marL="0" indent="0">
              <a:buNone/>
            </a:pPr>
            <a:endParaRPr lang="en-US" dirty="0"/>
          </a:p>
          <a:p>
            <a:pPr marL="0" indent="0">
              <a:buNone/>
            </a:pPr>
            <a:r>
              <a:rPr lang="en-US" b="1" dirty="0"/>
              <a:t>	</a:t>
            </a:r>
            <a:endParaRPr lang="en-US" dirty="0"/>
          </a:p>
        </p:txBody>
      </p:sp>
      <p:sp>
        <p:nvSpPr>
          <p:cNvPr id="19" name="Rectangle 15"/>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ectangle 16"/>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Oval 5"/>
          <p:cNvSpPr/>
          <p:nvPr/>
        </p:nvSpPr>
        <p:spPr>
          <a:xfrm>
            <a:off x="5289973" y="4402667"/>
            <a:ext cx="5499946" cy="1234465"/>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9" name="Straight Arrow Connector 28"/>
          <p:cNvCxnSpPr/>
          <p:nvPr/>
        </p:nvCxnSpPr>
        <p:spPr>
          <a:xfrm flipH="1" flipV="1">
            <a:off x="9718675" y="3008292"/>
            <a:ext cx="217805" cy="112004"/>
          </a:xfrm>
          <a:prstGeom prst="straightConnector1">
            <a:avLst/>
          </a:prstGeom>
          <a:ln w="28575">
            <a:solidFill>
              <a:schemeClr val="accent4"/>
            </a:solidFill>
            <a:tailEnd type="triangle"/>
          </a:ln>
        </p:spPr>
        <p:style>
          <a:lnRef idx="2">
            <a:schemeClr val="dk1"/>
          </a:lnRef>
          <a:fillRef idx="0">
            <a:schemeClr val="dk1"/>
          </a:fillRef>
          <a:effectRef idx="1">
            <a:schemeClr val="dk1"/>
          </a:effectRef>
          <a:fontRef idx="minor">
            <a:schemeClr val="tx1"/>
          </a:fontRef>
        </p:style>
      </p:cxnSp>
      <p:cxnSp>
        <p:nvCxnSpPr>
          <p:cNvPr id="32" name="Straight Arrow Connector 31"/>
          <p:cNvCxnSpPr/>
          <p:nvPr/>
        </p:nvCxnSpPr>
        <p:spPr>
          <a:xfrm flipH="1" flipV="1">
            <a:off x="6526956" y="5215250"/>
            <a:ext cx="422379" cy="327967"/>
          </a:xfrm>
          <a:prstGeom prst="straightConnector1">
            <a:avLst/>
          </a:prstGeom>
          <a:ln w="28575">
            <a:solidFill>
              <a:schemeClr val="accent4"/>
            </a:solidFill>
            <a:tailEnd type="triangle"/>
          </a:ln>
        </p:spPr>
        <p:style>
          <a:lnRef idx="2">
            <a:schemeClr val="dk1"/>
          </a:lnRef>
          <a:fillRef idx="0">
            <a:schemeClr val="dk1"/>
          </a:fillRef>
          <a:effectRef idx="1">
            <a:schemeClr val="dk1"/>
          </a:effectRef>
          <a:fontRef idx="minor">
            <a:schemeClr val="tx1"/>
          </a:fontRef>
        </p:style>
      </p:cxnSp>
      <p:sp>
        <p:nvSpPr>
          <p:cNvPr id="40" name="Rectangle 39"/>
          <p:cNvSpPr/>
          <p:nvPr/>
        </p:nvSpPr>
        <p:spPr>
          <a:xfrm>
            <a:off x="6099546" y="3401764"/>
            <a:ext cx="746125" cy="123825"/>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tangle 21"/>
          <p:cNvSpPr/>
          <p:nvPr/>
        </p:nvSpPr>
        <p:spPr>
          <a:xfrm>
            <a:off x="7227674" y="3392488"/>
            <a:ext cx="746125" cy="123825"/>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8768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p:nvPr/>
        </p:nvPicPr>
        <p:blipFill>
          <a:blip r:embed="rId2" cstate="print">
            <a:extLst>
              <a:ext uri="{28A0092B-C50C-407E-A947-70E740481C1C}">
                <a14:useLocalDpi xmlns:a14="http://schemas.microsoft.com/office/drawing/2010/main" val="0"/>
              </a:ext>
            </a:extLst>
          </a:blip>
          <a:stretch>
            <a:fillRect/>
          </a:stretch>
        </p:blipFill>
        <p:spPr>
          <a:xfrm>
            <a:off x="5348366" y="3241146"/>
            <a:ext cx="5943600" cy="3038475"/>
          </a:xfrm>
          <a:prstGeom prst="rect">
            <a:avLst/>
          </a:prstGeom>
        </p:spPr>
      </p:pic>
      <p:sp>
        <p:nvSpPr>
          <p:cNvPr id="2" name="Title 1"/>
          <p:cNvSpPr>
            <a:spLocks noGrp="1"/>
          </p:cNvSpPr>
          <p:nvPr>
            <p:ph type="title"/>
          </p:nvPr>
        </p:nvSpPr>
        <p:spPr>
          <a:xfrm>
            <a:off x="690615" y="174912"/>
            <a:ext cx="5168318" cy="1382955"/>
          </a:xfrm>
        </p:spPr>
        <p:txBody>
          <a:bodyPr>
            <a:normAutofit/>
          </a:bodyPr>
          <a:lstStyle/>
          <a:p>
            <a:r>
              <a:rPr lang="en-US" sz="3000" b="1" dirty="0">
                <a:latin typeface="Verdana" panose="020B0604030504040204" pitchFamily="34" charset="0"/>
                <a:ea typeface="Verdana" panose="020B0604030504040204" pitchFamily="34" charset="0"/>
              </a:rPr>
              <a:t>Steps to Record Renewal Decisions</a:t>
            </a:r>
          </a:p>
        </p:txBody>
      </p:sp>
      <p:sp>
        <p:nvSpPr>
          <p:cNvPr id="3" name="Content Placeholder 2"/>
          <p:cNvSpPr>
            <a:spLocks noGrp="1"/>
          </p:cNvSpPr>
          <p:nvPr>
            <p:ph idx="1"/>
          </p:nvPr>
        </p:nvSpPr>
        <p:spPr>
          <a:xfrm>
            <a:off x="536916" y="2222750"/>
            <a:ext cx="4811450" cy="4070562"/>
          </a:xfrm>
        </p:spPr>
        <p:txBody>
          <a:bodyPr>
            <a:normAutofit/>
          </a:bodyPr>
          <a:lstStyle/>
          <a:p>
            <a:pPr marL="230188" indent="-230188">
              <a:buFont typeface="Arial" panose="020B0604020202020204" pitchFamily="34" charset="0"/>
              <a:buChar char="•"/>
            </a:pPr>
            <a:r>
              <a:rPr lang="en-US" sz="1800" dirty="0">
                <a:latin typeface="Gill Sans"/>
              </a:rPr>
              <a:t>Use the Notes field to record any additional details, again using instructions given on April 8</a:t>
            </a:r>
          </a:p>
          <a:p>
            <a:pPr marL="230188" indent="-230188">
              <a:buFont typeface="Arial" panose="020B0604020202020204" pitchFamily="34" charset="0"/>
              <a:buChar char="•"/>
            </a:pPr>
            <a:r>
              <a:rPr lang="en-US" sz="1800" dirty="0">
                <a:latin typeface="Gill Sans"/>
              </a:rPr>
              <a:t>If you select Revised Appt End Date, a new box will appear that asks for the end date. You must enter a revised end date.</a:t>
            </a:r>
          </a:p>
          <a:p>
            <a:pPr marL="0" indent="0">
              <a:buNone/>
            </a:pPr>
            <a:r>
              <a:rPr lang="en-US" b="1" dirty="0"/>
              <a:t>	</a:t>
            </a:r>
            <a:endParaRPr lang="en-US" dirty="0"/>
          </a:p>
        </p:txBody>
      </p:sp>
      <p:sp>
        <p:nvSpPr>
          <p:cNvPr id="19" name="Rectangle 15"/>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ectangle 16"/>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8" name="Picture 27"/>
          <p:cNvPicPr/>
          <p:nvPr/>
        </p:nvPicPr>
        <p:blipFill>
          <a:blip r:embed="rId3" cstate="print">
            <a:extLst>
              <a:ext uri="{28A0092B-C50C-407E-A947-70E740481C1C}">
                <a14:useLocalDpi xmlns:a14="http://schemas.microsoft.com/office/drawing/2010/main" val="0"/>
              </a:ext>
            </a:extLst>
          </a:blip>
          <a:stretch>
            <a:fillRect/>
          </a:stretch>
        </p:blipFill>
        <p:spPr>
          <a:xfrm>
            <a:off x="5401733" y="1154921"/>
            <a:ext cx="5943600" cy="3019425"/>
          </a:xfrm>
          <a:prstGeom prst="rect">
            <a:avLst/>
          </a:prstGeom>
        </p:spPr>
      </p:pic>
      <p:sp>
        <p:nvSpPr>
          <p:cNvPr id="6" name="Oval 5"/>
          <p:cNvSpPr/>
          <p:nvPr/>
        </p:nvSpPr>
        <p:spPr>
          <a:xfrm>
            <a:off x="5134186" y="4385415"/>
            <a:ext cx="4003041" cy="1402080"/>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2" name="Straight Arrow Connector 31"/>
          <p:cNvCxnSpPr>
            <a:stCxn id="6" idx="2"/>
          </p:cNvCxnSpPr>
          <p:nvPr/>
        </p:nvCxnSpPr>
        <p:spPr>
          <a:xfrm flipV="1">
            <a:off x="5134186" y="4937760"/>
            <a:ext cx="968587" cy="148695"/>
          </a:xfrm>
          <a:prstGeom prst="straightConnector1">
            <a:avLst/>
          </a:prstGeom>
          <a:ln w="28575">
            <a:solidFill>
              <a:schemeClr val="accent4"/>
            </a:solidFill>
            <a:tailEnd type="triangle"/>
          </a:ln>
        </p:spPr>
        <p:style>
          <a:lnRef idx="2">
            <a:schemeClr val="dk1"/>
          </a:lnRef>
          <a:fillRef idx="0">
            <a:schemeClr val="dk1"/>
          </a:fillRef>
          <a:effectRef idx="1">
            <a:schemeClr val="dk1"/>
          </a:effectRef>
          <a:fontRef idx="minor">
            <a:schemeClr val="tx1"/>
          </a:fontRef>
        </p:style>
      </p:cxnSp>
      <p:cxnSp>
        <p:nvCxnSpPr>
          <p:cNvPr id="34" name="Straight Arrow Connector 33"/>
          <p:cNvCxnSpPr>
            <a:stCxn id="6" idx="2"/>
          </p:cNvCxnSpPr>
          <p:nvPr/>
        </p:nvCxnSpPr>
        <p:spPr>
          <a:xfrm>
            <a:off x="5134186" y="5086455"/>
            <a:ext cx="1053413" cy="106287"/>
          </a:xfrm>
          <a:prstGeom prst="straightConnector1">
            <a:avLst/>
          </a:prstGeom>
          <a:ln w="28575">
            <a:solidFill>
              <a:schemeClr val="accent4"/>
            </a:solidFill>
            <a:tailEnd type="triangle"/>
          </a:ln>
        </p:spPr>
        <p:style>
          <a:lnRef idx="2">
            <a:schemeClr val="dk1"/>
          </a:lnRef>
          <a:fillRef idx="0">
            <a:schemeClr val="dk1"/>
          </a:fillRef>
          <a:effectRef idx="1">
            <a:schemeClr val="dk1"/>
          </a:effectRef>
          <a:fontRef idx="minor">
            <a:schemeClr val="tx1"/>
          </a:fontRef>
        </p:style>
      </p:cxnSp>
      <p:sp>
        <p:nvSpPr>
          <p:cNvPr id="38" name="Rectangle 37"/>
          <p:cNvSpPr/>
          <p:nvPr/>
        </p:nvSpPr>
        <p:spPr>
          <a:xfrm>
            <a:off x="8466137" y="2777384"/>
            <a:ext cx="746125" cy="123825"/>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Rectangle 38"/>
          <p:cNvSpPr/>
          <p:nvPr/>
        </p:nvSpPr>
        <p:spPr>
          <a:xfrm>
            <a:off x="9595592" y="2777384"/>
            <a:ext cx="746125" cy="123825"/>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Rectangle 39"/>
          <p:cNvSpPr/>
          <p:nvPr/>
        </p:nvSpPr>
        <p:spPr>
          <a:xfrm>
            <a:off x="6187599" y="3226379"/>
            <a:ext cx="746125" cy="123825"/>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26" name="Straight Arrow Connector 25"/>
          <p:cNvCxnSpPr>
            <a:stCxn id="6" idx="7"/>
          </p:cNvCxnSpPr>
          <p:nvPr/>
        </p:nvCxnSpPr>
        <p:spPr>
          <a:xfrm flipH="1">
            <a:off x="7545493" y="4590745"/>
            <a:ext cx="1005502" cy="198002"/>
          </a:xfrm>
          <a:prstGeom prst="straightConnector1">
            <a:avLst/>
          </a:prstGeom>
          <a:ln w="28575">
            <a:solidFill>
              <a:schemeClr val="accent4"/>
            </a:solidFill>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8114670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615" y="174912"/>
            <a:ext cx="5168318" cy="1382955"/>
          </a:xfrm>
        </p:spPr>
        <p:txBody>
          <a:bodyPr>
            <a:normAutofit/>
          </a:bodyPr>
          <a:lstStyle/>
          <a:p>
            <a:r>
              <a:rPr lang="en-US" sz="3000" b="1" dirty="0">
                <a:latin typeface="Verdana" panose="020B0604030504040204" pitchFamily="34" charset="0"/>
                <a:ea typeface="Verdana" panose="020B0604030504040204" pitchFamily="34" charset="0"/>
              </a:rPr>
              <a:t>Steps to Record Renewal Decisions</a:t>
            </a:r>
          </a:p>
        </p:txBody>
      </p:sp>
      <p:sp>
        <p:nvSpPr>
          <p:cNvPr id="3" name="Content Placeholder 2"/>
          <p:cNvSpPr>
            <a:spLocks noGrp="1"/>
          </p:cNvSpPr>
          <p:nvPr>
            <p:ph idx="1"/>
          </p:nvPr>
        </p:nvSpPr>
        <p:spPr>
          <a:xfrm>
            <a:off x="536916" y="2222750"/>
            <a:ext cx="4811450" cy="4070562"/>
          </a:xfrm>
        </p:spPr>
        <p:txBody>
          <a:bodyPr>
            <a:normAutofit/>
          </a:bodyPr>
          <a:lstStyle/>
          <a:p>
            <a:pPr marL="230188" indent="-230188">
              <a:buFont typeface="Arial" panose="020B0604020202020204" pitchFamily="34" charset="0"/>
              <a:buChar char="•"/>
            </a:pPr>
            <a:r>
              <a:rPr lang="en-US" sz="1800" dirty="0">
                <a:latin typeface="Gill Sans"/>
              </a:rPr>
              <a:t>If you would like more time to think about the decision, leave the “Ready for Approval” button at “No” and click “Submit.”</a:t>
            </a:r>
          </a:p>
          <a:p>
            <a:pPr marL="230188" indent="-230188">
              <a:buFont typeface="Arial" panose="020B0604020202020204" pitchFamily="34" charset="0"/>
              <a:buChar char="•"/>
            </a:pPr>
            <a:r>
              <a:rPr lang="en-US" sz="1800" dirty="0">
                <a:latin typeface="Gill Sans"/>
              </a:rPr>
              <a:t>When you are ready for your HRSP to assess, click “Yes” in “Ready for Approval” and hit “Submit.”</a:t>
            </a:r>
          </a:p>
          <a:p>
            <a:pPr marL="230188" indent="-230188">
              <a:buFont typeface="Arial" panose="020B0604020202020204" pitchFamily="34" charset="0"/>
              <a:buChar char="•"/>
            </a:pPr>
            <a:r>
              <a:rPr lang="en-US" sz="1800" dirty="0">
                <a:latin typeface="Gill Sans"/>
              </a:rPr>
              <a:t>The HRSPs will gather approval from deans, vice provosts and/or vice presidents, as appropriate</a:t>
            </a:r>
          </a:p>
          <a:p>
            <a:pPr marL="0" indent="0">
              <a:buNone/>
            </a:pPr>
            <a:endParaRPr lang="en-US" dirty="0"/>
          </a:p>
          <a:p>
            <a:pPr marL="0" indent="0">
              <a:buNone/>
            </a:pPr>
            <a:r>
              <a:rPr lang="en-US" b="1" dirty="0"/>
              <a:t>	</a:t>
            </a:r>
            <a:endParaRPr lang="en-US" dirty="0"/>
          </a:p>
        </p:txBody>
      </p:sp>
      <p:sp>
        <p:nvSpPr>
          <p:cNvPr id="19" name="Rectangle 15"/>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ectangle 16"/>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5" name="Picture 24"/>
          <p:cNvPicPr/>
          <p:nvPr/>
        </p:nvPicPr>
        <p:blipFill>
          <a:blip r:embed="rId2" cstate="print">
            <a:extLst>
              <a:ext uri="{28A0092B-C50C-407E-A947-70E740481C1C}">
                <a14:useLocalDpi xmlns:a14="http://schemas.microsoft.com/office/drawing/2010/main" val="0"/>
              </a:ext>
            </a:extLst>
          </a:blip>
          <a:stretch>
            <a:fillRect/>
          </a:stretch>
        </p:blipFill>
        <p:spPr>
          <a:xfrm>
            <a:off x="5401733" y="3867767"/>
            <a:ext cx="5943600" cy="2209800"/>
          </a:xfrm>
          <a:prstGeom prst="rect">
            <a:avLst/>
          </a:prstGeom>
        </p:spPr>
      </p:pic>
      <p:pic>
        <p:nvPicPr>
          <p:cNvPr id="28" name="Picture 27"/>
          <p:cNvPicPr/>
          <p:nvPr/>
        </p:nvPicPr>
        <p:blipFill>
          <a:blip r:embed="rId3" cstate="print">
            <a:extLst>
              <a:ext uri="{28A0092B-C50C-407E-A947-70E740481C1C}">
                <a14:useLocalDpi xmlns:a14="http://schemas.microsoft.com/office/drawing/2010/main" val="0"/>
              </a:ext>
            </a:extLst>
          </a:blip>
          <a:stretch>
            <a:fillRect/>
          </a:stretch>
        </p:blipFill>
        <p:spPr>
          <a:xfrm>
            <a:off x="5401733" y="1154921"/>
            <a:ext cx="5943600" cy="3019425"/>
          </a:xfrm>
          <a:prstGeom prst="rect">
            <a:avLst/>
          </a:prstGeom>
        </p:spPr>
      </p:pic>
      <p:sp>
        <p:nvSpPr>
          <p:cNvPr id="6" name="Oval 5"/>
          <p:cNvSpPr/>
          <p:nvPr/>
        </p:nvSpPr>
        <p:spPr>
          <a:xfrm>
            <a:off x="5289973" y="4402667"/>
            <a:ext cx="5499946" cy="1402080"/>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9" name="Straight Arrow Connector 28"/>
          <p:cNvCxnSpPr/>
          <p:nvPr/>
        </p:nvCxnSpPr>
        <p:spPr>
          <a:xfrm flipH="1" flipV="1">
            <a:off x="9787467" y="4362905"/>
            <a:ext cx="554250" cy="341299"/>
          </a:xfrm>
          <a:prstGeom prst="straightConnector1">
            <a:avLst/>
          </a:prstGeom>
          <a:ln w="28575">
            <a:solidFill>
              <a:schemeClr val="accent4"/>
            </a:solidFill>
            <a:tailEnd type="triangle"/>
          </a:ln>
        </p:spPr>
        <p:style>
          <a:lnRef idx="2">
            <a:schemeClr val="dk1"/>
          </a:lnRef>
          <a:fillRef idx="0">
            <a:schemeClr val="dk1"/>
          </a:fillRef>
          <a:effectRef idx="1">
            <a:schemeClr val="dk1"/>
          </a:effectRef>
          <a:fontRef idx="minor">
            <a:schemeClr val="tx1"/>
          </a:fontRef>
        </p:style>
      </p:cxnSp>
      <p:sp>
        <p:nvSpPr>
          <p:cNvPr id="31" name="Oval 30"/>
          <p:cNvSpPr/>
          <p:nvPr/>
        </p:nvSpPr>
        <p:spPr>
          <a:xfrm>
            <a:off x="5945611" y="5084568"/>
            <a:ext cx="819150" cy="372745"/>
          </a:xfrm>
          <a:prstGeom prst="ellipse">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2" name="Straight Arrow Connector 31"/>
          <p:cNvCxnSpPr/>
          <p:nvPr/>
        </p:nvCxnSpPr>
        <p:spPr>
          <a:xfrm flipH="1" flipV="1">
            <a:off x="6736928" y="5309164"/>
            <a:ext cx="393593" cy="221173"/>
          </a:xfrm>
          <a:prstGeom prst="straightConnector1">
            <a:avLst/>
          </a:prstGeom>
          <a:ln w="28575">
            <a:solidFill>
              <a:schemeClr val="accent4"/>
            </a:solidFill>
            <a:tailEnd type="triangle"/>
          </a:ln>
        </p:spPr>
        <p:style>
          <a:lnRef idx="2">
            <a:schemeClr val="dk1"/>
          </a:lnRef>
          <a:fillRef idx="0">
            <a:schemeClr val="dk1"/>
          </a:fillRef>
          <a:effectRef idx="1">
            <a:schemeClr val="dk1"/>
          </a:effectRef>
          <a:fontRef idx="minor">
            <a:schemeClr val="tx1"/>
          </a:fontRef>
        </p:style>
      </p:cxnSp>
      <p:sp>
        <p:nvSpPr>
          <p:cNvPr id="33" name="Text Box 2"/>
          <p:cNvSpPr txBox="1">
            <a:spLocks noChangeArrowheads="1"/>
          </p:cNvSpPr>
          <p:nvPr/>
        </p:nvSpPr>
        <p:spPr bwMode="auto">
          <a:xfrm>
            <a:off x="7130521" y="5267448"/>
            <a:ext cx="2018665" cy="738505"/>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lvl="0" indent="0" algn="l" defTabSz="914400" rtl="0" eaLnBrk="1" fontAlgn="auto" latinLnBrk="0" hangingPunct="1">
              <a:lnSpc>
                <a:spcPct val="116000"/>
              </a:lnSpc>
              <a:spcBef>
                <a:spcPts val="0"/>
              </a:spcBef>
              <a:spcAft>
                <a:spcPts val="8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a:ea typeface="Times New Roman" panose="02020603050405020304" pitchFamily="18" charset="0"/>
                <a:cs typeface="Times New Roman" panose="02020603050405020304" pitchFamily="18" charset="0"/>
              </a:rPr>
              <a:t>When you have made a decision you will select Yes and click Submit</a:t>
            </a:r>
          </a:p>
        </p:txBody>
      </p:sp>
      <p:cxnSp>
        <p:nvCxnSpPr>
          <p:cNvPr id="34" name="Straight Arrow Connector 33"/>
          <p:cNvCxnSpPr/>
          <p:nvPr/>
        </p:nvCxnSpPr>
        <p:spPr>
          <a:xfrm flipH="1">
            <a:off x="6383761" y="5497075"/>
            <a:ext cx="746760" cy="275198"/>
          </a:xfrm>
          <a:prstGeom prst="straightConnector1">
            <a:avLst/>
          </a:prstGeom>
          <a:ln w="28575">
            <a:solidFill>
              <a:schemeClr val="accent4"/>
            </a:solidFill>
            <a:tailEnd type="triangle"/>
          </a:ln>
        </p:spPr>
        <p:style>
          <a:lnRef idx="2">
            <a:schemeClr val="dk1"/>
          </a:lnRef>
          <a:fillRef idx="0">
            <a:schemeClr val="dk1"/>
          </a:fillRef>
          <a:effectRef idx="1">
            <a:schemeClr val="dk1"/>
          </a:effectRef>
          <a:fontRef idx="minor">
            <a:schemeClr val="tx1"/>
          </a:fontRef>
        </p:style>
      </p:cxnSp>
      <p:sp>
        <p:nvSpPr>
          <p:cNvPr id="38" name="Rectangle 37"/>
          <p:cNvSpPr/>
          <p:nvPr/>
        </p:nvSpPr>
        <p:spPr>
          <a:xfrm>
            <a:off x="8466137" y="2777384"/>
            <a:ext cx="746125" cy="123825"/>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Rectangle 38"/>
          <p:cNvSpPr/>
          <p:nvPr/>
        </p:nvSpPr>
        <p:spPr>
          <a:xfrm>
            <a:off x="9595592" y="2777384"/>
            <a:ext cx="746125" cy="123825"/>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Rectangle 39"/>
          <p:cNvSpPr/>
          <p:nvPr/>
        </p:nvSpPr>
        <p:spPr>
          <a:xfrm>
            <a:off x="6187599" y="3226379"/>
            <a:ext cx="746125" cy="123825"/>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2042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8358" y="79710"/>
            <a:ext cx="7092185" cy="1516179"/>
          </a:xfrm>
        </p:spPr>
        <p:txBody>
          <a:bodyPr>
            <a:normAutofit/>
          </a:bodyPr>
          <a:lstStyle/>
          <a:p>
            <a:r>
              <a:rPr lang="en-US" sz="3000" b="1" dirty="0">
                <a:latin typeface="Verdana" panose="020B0604030504040204" pitchFamily="34" charset="0"/>
                <a:ea typeface="Verdana" panose="020B0604030504040204" pitchFamily="34" charset="0"/>
              </a:rPr>
              <a:t>Help with the Online Tool</a:t>
            </a:r>
          </a:p>
        </p:txBody>
      </p:sp>
      <p:sp>
        <p:nvSpPr>
          <p:cNvPr id="3" name="Content Placeholder 2"/>
          <p:cNvSpPr>
            <a:spLocks noGrp="1"/>
          </p:cNvSpPr>
          <p:nvPr>
            <p:ph idx="1"/>
          </p:nvPr>
        </p:nvSpPr>
        <p:spPr>
          <a:xfrm>
            <a:off x="536915" y="2202430"/>
            <a:ext cx="11099671" cy="4070562"/>
          </a:xfrm>
        </p:spPr>
        <p:txBody>
          <a:bodyPr>
            <a:normAutofit/>
          </a:bodyPr>
          <a:lstStyle/>
          <a:p>
            <a:pPr marL="230188" indent="-230188">
              <a:buFont typeface="Arial" panose="020B0604020202020204" pitchFamily="34" charset="0"/>
              <a:buChar char="•"/>
            </a:pPr>
            <a:r>
              <a:rPr lang="en-US" sz="1800" dirty="0">
                <a:latin typeface="Gill Sans"/>
              </a:rPr>
              <a:t>You must use the Microsoft Edge browser. Turn off all extensions that overwrite scripts, such as popup blockers. The FTR tool uses scripts, so other extensions may cause the FTR tool to fail. </a:t>
            </a:r>
          </a:p>
          <a:p>
            <a:pPr marL="230188" indent="-230188">
              <a:buFont typeface="Arial" panose="020B0604020202020204" pitchFamily="34" charset="0"/>
              <a:buChar char="•"/>
            </a:pPr>
            <a:r>
              <a:rPr lang="en-US" sz="1800" dirty="0">
                <a:latin typeface="Gill Sans"/>
              </a:rPr>
              <a:t>You have access to specific organization/timesheet codes, not to every employee. If you need to see someone outside your organization, the HRSPs can help.</a:t>
            </a:r>
          </a:p>
          <a:p>
            <a:pPr marL="230188" indent="-230188">
              <a:buFont typeface="Arial" panose="020B0604020202020204" pitchFamily="34" charset="0"/>
              <a:buChar char="•"/>
            </a:pPr>
            <a:r>
              <a:rPr lang="en-US" sz="1800" dirty="0">
                <a:latin typeface="Gill Sans"/>
              </a:rPr>
              <a:t>Your HR Strategic Partner can access the records at any time, help navigate decisions, or escalate any system issues. </a:t>
            </a:r>
          </a:p>
          <a:p>
            <a:pPr marL="230188" indent="-230188">
              <a:buFont typeface="Arial" panose="020B0604020202020204" pitchFamily="34" charset="0"/>
              <a:buChar char="•"/>
            </a:pPr>
            <a:r>
              <a:rPr lang="en-US" sz="1800" dirty="0">
                <a:latin typeface="Gill Sans"/>
              </a:rPr>
              <a:t>Double-check that you’re registered if you can’t get into the system</a:t>
            </a:r>
          </a:p>
          <a:p>
            <a:pPr marL="230188" indent="-230188">
              <a:buFont typeface="Arial" panose="020B0604020202020204" pitchFamily="34" charset="0"/>
              <a:buChar char="•"/>
            </a:pPr>
            <a:r>
              <a:rPr lang="en-US" sz="1800" dirty="0">
                <a:latin typeface="Gill Sans"/>
              </a:rPr>
              <a:t>If you’re newly registered, it may take a day to provide access</a:t>
            </a:r>
          </a:p>
          <a:p>
            <a:pPr marL="230188" indent="-230188">
              <a:buFont typeface="Arial" panose="020B0604020202020204" pitchFamily="34" charset="0"/>
              <a:buChar char="•"/>
            </a:pPr>
            <a:r>
              <a:rPr lang="en-US" sz="1800" dirty="0">
                <a:latin typeface="Gill Sans"/>
              </a:rPr>
              <a:t>More resources have been provided to users to aid decision-making</a:t>
            </a:r>
          </a:p>
          <a:p>
            <a:pPr marL="0" indent="0">
              <a:buNone/>
            </a:pPr>
            <a:endParaRPr lang="en-US" dirty="0"/>
          </a:p>
          <a:p>
            <a:pPr marL="0" indent="0">
              <a:buNone/>
            </a:pPr>
            <a:r>
              <a:rPr lang="en-US" b="1" dirty="0"/>
              <a:t>	</a:t>
            </a:r>
            <a:endParaRPr lang="en-US" dirty="0"/>
          </a:p>
        </p:txBody>
      </p:sp>
      <p:sp>
        <p:nvSpPr>
          <p:cNvPr id="19" name="Rectangle 15"/>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ectangle 16"/>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55102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4000" b="1" dirty="0">
                <a:latin typeface="Verdana" panose="020B0604030504040204" pitchFamily="34" charset="0"/>
                <a:ea typeface="Verdana" panose="020B0604030504040204" pitchFamily="34" charset="0"/>
              </a:rPr>
              <a:t>Renewal Decision Guidance</a:t>
            </a:r>
          </a:p>
        </p:txBody>
      </p:sp>
    </p:spTree>
    <p:extLst>
      <p:ext uri="{BB962C8B-B14F-4D97-AF65-F5344CB8AC3E}">
        <p14:creationId xmlns:p14="http://schemas.microsoft.com/office/powerpoint/2010/main" val="1653091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3743829506"/>
              </p:ext>
            </p:extLst>
          </p:nvPr>
        </p:nvGraphicFramePr>
        <p:xfrm>
          <a:off x="576469" y="1239078"/>
          <a:ext cx="11145079" cy="50689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a:xfrm>
            <a:off x="456520" y="442097"/>
            <a:ext cx="5347939" cy="507831"/>
          </a:xfrm>
          <a:prstGeom prst="rect">
            <a:avLst/>
          </a:prstGeom>
        </p:spPr>
        <p:txBody>
          <a:bodyPr wrap="none">
            <a:spAutoFit/>
          </a:bodyPr>
          <a:lstStyle/>
          <a:p>
            <a:pPr marL="0" marR="0" lvl="0" indent="0" algn="l" defTabSz="2133600" rtl="0" eaLnBrk="1" fontAlgn="auto" latinLnBrk="0" hangingPunct="1">
              <a:lnSpc>
                <a:spcPct val="90000"/>
              </a:lnSpc>
              <a:spcBef>
                <a:spcPct val="0"/>
              </a:spcBef>
              <a:spcAft>
                <a:spcPct val="3500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Renewal Status Options</a:t>
            </a:r>
          </a:p>
        </p:txBody>
      </p:sp>
    </p:spTree>
    <p:extLst>
      <p:ext uri="{BB962C8B-B14F-4D97-AF65-F5344CB8AC3E}">
        <p14:creationId xmlns:p14="http://schemas.microsoft.com/office/powerpoint/2010/main" val="13010002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5942" y="195544"/>
            <a:ext cx="10058400" cy="939370"/>
          </a:xfrm>
        </p:spPr>
        <p:txBody>
          <a:bodyPr>
            <a:noAutofit/>
          </a:bodyPr>
          <a:lstStyle/>
          <a:p>
            <a:r>
              <a:rPr lang="en-US" sz="3000" b="1" dirty="0">
                <a:latin typeface="Verdana" panose="020B0604030504040204" pitchFamily="34" charset="0"/>
                <a:ea typeface="Verdana" panose="020B0604030504040204" pitchFamily="34" charset="0"/>
              </a:rPr>
              <a:t>What  Happens After “Uncertain”</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622781484"/>
              </p:ext>
            </p:extLst>
          </p:nvPr>
        </p:nvGraphicFramePr>
        <p:xfrm>
          <a:off x="838200" y="1292087"/>
          <a:ext cx="10515600" cy="48848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85901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92729C84-C8C4-4E6F-B04B-62CBC90CCDE6}"/>
              </a:ext>
            </a:extLst>
          </p:cNvPr>
          <p:cNvSpPr txBox="1">
            <a:spLocks noGrp="1"/>
          </p:cNvSpPr>
          <p:nvPr>
            <p:ph type="title" idx="4294967295"/>
          </p:nvPr>
        </p:nvSpPr>
        <p:spPr bwMode="auto">
          <a:xfrm>
            <a:off x="-1" y="490538"/>
            <a:ext cx="12192001" cy="9540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algn="l" rtl="0" eaLnBrk="1" fontAlgn="base" hangingPunct="1">
              <a:spcBef>
                <a:spcPct val="0"/>
              </a:spcBef>
              <a:spcAft>
                <a:spcPct val="0"/>
              </a:spcAft>
              <a:defRPr kumimoji="0" lang="en-US" sz="2400" b="1" i="0" u="none" strike="noStrike" kern="1200" cap="none" spc="0" normalizeH="0" baseline="0" noProof="0" dirty="0" smtClean="0">
                <a:ln>
                  <a:noFill/>
                </a:ln>
                <a:solidFill>
                  <a:prstClr val="black">
                    <a:lumMod val="65000"/>
                    <a:lumOff val="35000"/>
                  </a:prstClr>
                </a:solidFill>
                <a:effectLst/>
                <a:uLnTx/>
                <a:uFillTx/>
                <a:latin typeface="Cambria"/>
                <a:ea typeface="+mn-ea"/>
                <a:cs typeface="Cambria"/>
              </a:defRPr>
            </a:lvl1pPr>
            <a:lvl2pPr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2pPr>
            <a:lvl3pPr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3pPr>
            <a:lvl4pPr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4pPr>
            <a:lvl5pPr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5pPr>
            <a:lvl6pPr marL="457200"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6pPr>
            <a:lvl7pPr marL="914400"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7pPr>
            <a:lvl8pPr marL="1371600"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8pPr>
            <a:lvl9pPr marL="1828800" algn="ctr" rtl="0" eaLnBrk="1" fontAlgn="base" hangingPunct="1">
              <a:spcBef>
                <a:spcPct val="0"/>
              </a:spcBef>
              <a:spcAft>
                <a:spcPct val="0"/>
              </a:spcAft>
              <a:defRPr sz="3600">
                <a:solidFill>
                  <a:schemeClr val="tx2"/>
                </a:solidFill>
                <a:effectLst>
                  <a:outerShdw blurRad="38100" dist="38100" dir="2700000" algn="tl">
                    <a:srgbClr val="000000"/>
                  </a:outerShdw>
                </a:effectLst>
                <a:latin typeface="Tahoma" pitchFamily="-96" charset="0"/>
                <a:ea typeface="ＭＳ Ｐゴシック" pitchFamily="-96" charset="-128"/>
              </a:defRPr>
            </a:lvl9pPr>
          </a:lstStyle>
          <a:p>
            <a:pPr algn="ctr">
              <a:defRPr/>
            </a:pPr>
            <a:r>
              <a:rPr lang="en-US" sz="3000" dirty="0">
                <a:solidFill>
                  <a:srgbClr val="000000"/>
                </a:solidFill>
                <a:latin typeface="Verdana" panose="020B0604030504040204" pitchFamily="34" charset="0"/>
                <a:ea typeface="Verdana" panose="020B0604030504040204" pitchFamily="34" charset="0"/>
              </a:rPr>
              <a:t>Advance Notice of Non-Renewal At a Glance</a:t>
            </a:r>
          </a:p>
        </p:txBody>
      </p:sp>
      <p:sp>
        <p:nvSpPr>
          <p:cNvPr id="8" name="Rounded Rectangle 7"/>
          <p:cNvSpPr/>
          <p:nvPr/>
        </p:nvSpPr>
        <p:spPr>
          <a:xfrm>
            <a:off x="4170870" y="2438399"/>
            <a:ext cx="1587754" cy="3294890"/>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l Sans"/>
            </a:endParaRPr>
          </a:p>
        </p:txBody>
      </p:sp>
      <p:sp>
        <p:nvSpPr>
          <p:cNvPr id="9" name="TextBox 8"/>
          <p:cNvSpPr txBox="1"/>
          <p:nvPr/>
        </p:nvSpPr>
        <p:spPr>
          <a:xfrm>
            <a:off x="4170870" y="2595747"/>
            <a:ext cx="143510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a:rPr>
              <a:t>Appointment Duration in AY`25</a:t>
            </a:r>
          </a:p>
        </p:txBody>
      </p:sp>
      <p:sp>
        <p:nvSpPr>
          <p:cNvPr id="10" name="Rounded Rectangle 9"/>
          <p:cNvSpPr/>
          <p:nvPr/>
        </p:nvSpPr>
        <p:spPr>
          <a:xfrm>
            <a:off x="6356096" y="2438400"/>
            <a:ext cx="1587754" cy="329489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l Sans"/>
            </a:endParaRPr>
          </a:p>
        </p:txBody>
      </p:sp>
      <p:sp>
        <p:nvSpPr>
          <p:cNvPr id="11" name="TextBox 10"/>
          <p:cNvSpPr txBox="1"/>
          <p:nvPr/>
        </p:nvSpPr>
        <p:spPr>
          <a:xfrm>
            <a:off x="6421247" y="2556933"/>
            <a:ext cx="14351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a:rPr>
              <a:t>Renewal Notice</a:t>
            </a:r>
          </a:p>
        </p:txBody>
      </p:sp>
      <p:sp>
        <p:nvSpPr>
          <p:cNvPr id="12" name="Rounded Rectangle 11"/>
          <p:cNvSpPr/>
          <p:nvPr/>
        </p:nvSpPr>
        <p:spPr>
          <a:xfrm>
            <a:off x="8523668" y="2426430"/>
            <a:ext cx="1588579" cy="3306859"/>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ll Sans"/>
            </a:endParaRPr>
          </a:p>
        </p:txBody>
      </p:sp>
      <p:sp>
        <p:nvSpPr>
          <p:cNvPr id="13" name="TextBox 12"/>
          <p:cNvSpPr txBox="1"/>
          <p:nvPr/>
        </p:nvSpPr>
        <p:spPr>
          <a:xfrm>
            <a:off x="8588820" y="2544964"/>
            <a:ext cx="14351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a:rPr>
              <a:t>Non-Renewal Notice</a:t>
            </a:r>
          </a:p>
        </p:txBody>
      </p:sp>
      <p:sp>
        <p:nvSpPr>
          <p:cNvPr id="36" name="TextBox 35"/>
          <p:cNvSpPr txBox="1"/>
          <p:nvPr/>
        </p:nvSpPr>
        <p:spPr>
          <a:xfrm>
            <a:off x="4180289" y="1707967"/>
            <a:ext cx="14351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a:rPr>
              <a:t>Factors that impact notice </a:t>
            </a:r>
          </a:p>
        </p:txBody>
      </p:sp>
      <p:sp>
        <p:nvSpPr>
          <p:cNvPr id="38" name="TextBox 37"/>
          <p:cNvSpPr txBox="1"/>
          <p:nvPr/>
        </p:nvSpPr>
        <p:spPr>
          <a:xfrm>
            <a:off x="7493698" y="1711358"/>
            <a:ext cx="14351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a:rPr>
              <a:t>Resulting notice </a:t>
            </a:r>
          </a:p>
        </p:txBody>
      </p:sp>
      <p:grpSp>
        <p:nvGrpSpPr>
          <p:cNvPr id="39" name="Group 38"/>
          <p:cNvGrpSpPr/>
          <p:nvPr/>
        </p:nvGrpSpPr>
        <p:grpSpPr>
          <a:xfrm>
            <a:off x="4180289" y="3429000"/>
            <a:ext cx="5931958" cy="1678119"/>
            <a:chOff x="4174997" y="3547665"/>
            <a:chExt cx="5931958" cy="1678119"/>
          </a:xfrm>
        </p:grpSpPr>
        <p:sp>
          <p:nvSpPr>
            <p:cNvPr id="42" name="Freeform 41"/>
            <p:cNvSpPr/>
            <p:nvPr/>
          </p:nvSpPr>
          <p:spPr>
            <a:xfrm>
              <a:off x="4174997" y="3547665"/>
              <a:ext cx="1561041" cy="780520"/>
            </a:xfrm>
            <a:custGeom>
              <a:avLst/>
              <a:gdLst>
                <a:gd name="connsiteX0" fmla="*/ 0 w 1561041"/>
                <a:gd name="connsiteY0" fmla="*/ 78052 h 780520"/>
                <a:gd name="connsiteX1" fmla="*/ 78052 w 1561041"/>
                <a:gd name="connsiteY1" fmla="*/ 0 h 780520"/>
                <a:gd name="connsiteX2" fmla="*/ 1482989 w 1561041"/>
                <a:gd name="connsiteY2" fmla="*/ 0 h 780520"/>
                <a:gd name="connsiteX3" fmla="*/ 1561041 w 1561041"/>
                <a:gd name="connsiteY3" fmla="*/ 78052 h 780520"/>
                <a:gd name="connsiteX4" fmla="*/ 1561041 w 1561041"/>
                <a:gd name="connsiteY4" fmla="*/ 702468 h 780520"/>
                <a:gd name="connsiteX5" fmla="*/ 1482989 w 1561041"/>
                <a:gd name="connsiteY5" fmla="*/ 780520 h 780520"/>
                <a:gd name="connsiteX6" fmla="*/ 78052 w 1561041"/>
                <a:gd name="connsiteY6" fmla="*/ 780520 h 780520"/>
                <a:gd name="connsiteX7" fmla="*/ 0 w 1561041"/>
                <a:gd name="connsiteY7" fmla="*/ 702468 h 780520"/>
                <a:gd name="connsiteX8" fmla="*/ 0 w 1561041"/>
                <a:gd name="connsiteY8" fmla="*/ 78052 h 78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041" h="780520">
                  <a:moveTo>
                    <a:pt x="0" y="78052"/>
                  </a:moveTo>
                  <a:cubicBezTo>
                    <a:pt x="0" y="34945"/>
                    <a:pt x="34945" y="0"/>
                    <a:pt x="78052" y="0"/>
                  </a:cubicBezTo>
                  <a:lnTo>
                    <a:pt x="1482989" y="0"/>
                  </a:lnTo>
                  <a:cubicBezTo>
                    <a:pt x="1526096" y="0"/>
                    <a:pt x="1561041" y="34945"/>
                    <a:pt x="1561041" y="78052"/>
                  </a:cubicBezTo>
                  <a:lnTo>
                    <a:pt x="1561041" y="702468"/>
                  </a:lnTo>
                  <a:cubicBezTo>
                    <a:pt x="1561041" y="745575"/>
                    <a:pt x="1526096" y="780520"/>
                    <a:pt x="1482989" y="780520"/>
                  </a:cubicBezTo>
                  <a:lnTo>
                    <a:pt x="78052" y="780520"/>
                  </a:lnTo>
                  <a:cubicBezTo>
                    <a:pt x="34945" y="780520"/>
                    <a:pt x="0" y="745575"/>
                    <a:pt x="0" y="702468"/>
                  </a:cubicBezTo>
                  <a:lnTo>
                    <a:pt x="0" y="78052"/>
                  </a:lnTo>
                  <a:close/>
                </a:path>
              </a:pathLst>
            </a:custGeom>
            <a:scene3d>
              <a:camera prst="orthographicFront"/>
              <a:lightRig rig="flat" dir="t"/>
            </a:scene3d>
            <a:sp3d prstMaterial="dkEdge">
              <a:bevelT w="8200" h="38100"/>
            </a:sp3d>
          </p:spPr>
          <p:style>
            <a:lnRef idx="0">
              <a:schemeClr val="dk1">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29846" tIns="29846" rIns="29846" bIns="29846"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Gill Sans"/>
                </a:rPr>
                <a:t>Employed 1-2 terms in AY`25-26</a:t>
              </a:r>
            </a:p>
          </p:txBody>
        </p:sp>
        <p:sp>
          <p:nvSpPr>
            <p:cNvPr id="43" name="Freeform 42"/>
            <p:cNvSpPr/>
            <p:nvPr/>
          </p:nvSpPr>
          <p:spPr>
            <a:xfrm>
              <a:off x="5736039" y="3924961"/>
              <a:ext cx="624416" cy="25927"/>
            </a:xfrm>
            <a:custGeom>
              <a:avLst/>
              <a:gdLst>
                <a:gd name="connsiteX0" fmla="*/ 0 w 624416"/>
                <a:gd name="connsiteY0" fmla="*/ 12963 h 25927"/>
                <a:gd name="connsiteX1" fmla="*/ 624416 w 624416"/>
                <a:gd name="connsiteY1" fmla="*/ 12963 h 25927"/>
              </a:gdLst>
              <a:ahLst/>
              <a:cxnLst>
                <a:cxn ang="0">
                  <a:pos x="connsiteX0" y="connsiteY0"/>
                </a:cxn>
                <a:cxn ang="0">
                  <a:pos x="connsiteX1" y="connsiteY1"/>
                </a:cxn>
              </a:cxnLst>
              <a:rect l="l" t="t" r="r" b="b"/>
              <a:pathLst>
                <a:path w="624416" h="25927">
                  <a:moveTo>
                    <a:pt x="0" y="12963"/>
                  </a:moveTo>
                  <a:lnTo>
                    <a:pt x="624416" y="12963"/>
                  </a:lnTo>
                </a:path>
              </a:pathLst>
            </a:custGeom>
            <a:noFill/>
            <a:ln w="12700">
              <a:tailEnd type="arrow" w="sm" len="sm"/>
            </a:ln>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txBody>
            <a:bodyPr spcFirstLastPara="0" vert="horz" wrap="square" lIns="309298" tIns="-2646" rIns="309298" bIns="-2647"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dirty="0">
                <a:ln>
                  <a:noFill/>
                </a:ln>
                <a:solidFill>
                  <a:prstClr val="black">
                    <a:hueOff val="0"/>
                    <a:satOff val="0"/>
                    <a:lumOff val="0"/>
                    <a:alphaOff val="0"/>
                  </a:prstClr>
                </a:solidFill>
                <a:effectLst/>
                <a:uLnTx/>
                <a:uFillTx/>
                <a:latin typeface="Gill Sans"/>
              </a:endParaRPr>
            </a:p>
          </p:txBody>
        </p:sp>
        <p:sp>
          <p:nvSpPr>
            <p:cNvPr id="44" name="Freeform 43"/>
            <p:cNvSpPr/>
            <p:nvPr/>
          </p:nvSpPr>
          <p:spPr>
            <a:xfrm>
              <a:off x="6360456" y="3547665"/>
              <a:ext cx="1561041" cy="780520"/>
            </a:xfrm>
            <a:custGeom>
              <a:avLst/>
              <a:gdLst>
                <a:gd name="connsiteX0" fmla="*/ 0 w 1561041"/>
                <a:gd name="connsiteY0" fmla="*/ 78052 h 780520"/>
                <a:gd name="connsiteX1" fmla="*/ 78052 w 1561041"/>
                <a:gd name="connsiteY1" fmla="*/ 0 h 780520"/>
                <a:gd name="connsiteX2" fmla="*/ 1482989 w 1561041"/>
                <a:gd name="connsiteY2" fmla="*/ 0 h 780520"/>
                <a:gd name="connsiteX3" fmla="*/ 1561041 w 1561041"/>
                <a:gd name="connsiteY3" fmla="*/ 78052 h 780520"/>
                <a:gd name="connsiteX4" fmla="*/ 1561041 w 1561041"/>
                <a:gd name="connsiteY4" fmla="*/ 702468 h 780520"/>
                <a:gd name="connsiteX5" fmla="*/ 1482989 w 1561041"/>
                <a:gd name="connsiteY5" fmla="*/ 780520 h 780520"/>
                <a:gd name="connsiteX6" fmla="*/ 78052 w 1561041"/>
                <a:gd name="connsiteY6" fmla="*/ 780520 h 780520"/>
                <a:gd name="connsiteX7" fmla="*/ 0 w 1561041"/>
                <a:gd name="connsiteY7" fmla="*/ 702468 h 780520"/>
                <a:gd name="connsiteX8" fmla="*/ 0 w 1561041"/>
                <a:gd name="connsiteY8" fmla="*/ 78052 h 78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041" h="780520">
                  <a:moveTo>
                    <a:pt x="0" y="78052"/>
                  </a:moveTo>
                  <a:cubicBezTo>
                    <a:pt x="0" y="34945"/>
                    <a:pt x="34945" y="0"/>
                    <a:pt x="78052" y="0"/>
                  </a:cubicBezTo>
                  <a:lnTo>
                    <a:pt x="1482989" y="0"/>
                  </a:lnTo>
                  <a:cubicBezTo>
                    <a:pt x="1526096" y="0"/>
                    <a:pt x="1561041" y="34945"/>
                    <a:pt x="1561041" y="78052"/>
                  </a:cubicBezTo>
                  <a:lnTo>
                    <a:pt x="1561041" y="702468"/>
                  </a:lnTo>
                  <a:cubicBezTo>
                    <a:pt x="1561041" y="745575"/>
                    <a:pt x="1526096" y="780520"/>
                    <a:pt x="1482989" y="780520"/>
                  </a:cubicBezTo>
                  <a:lnTo>
                    <a:pt x="78052" y="780520"/>
                  </a:lnTo>
                  <a:cubicBezTo>
                    <a:pt x="34945" y="780520"/>
                    <a:pt x="0" y="745575"/>
                    <a:pt x="0" y="702468"/>
                  </a:cubicBezTo>
                  <a:lnTo>
                    <a:pt x="0" y="78052"/>
                  </a:lnTo>
                  <a:close/>
                </a:path>
              </a:pathLst>
            </a:custGeom>
            <a:scene3d>
              <a:camera prst="orthographicFront"/>
              <a:lightRig rig="flat" dir="t"/>
            </a:scene3d>
            <a:sp3d prstMaterial="dkEdge">
              <a:bevelT w="8200" h="38100"/>
            </a:sp3d>
          </p:spPr>
          <p:style>
            <a:lnRef idx="0">
              <a:schemeClr val="dk1">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29846" tIns="29846" rIns="29846" bIns="29846"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Gill Sans"/>
                </a:rPr>
                <a:t>No contractual timeline to receive renewal notice, but should still receive as soon as feasible</a:t>
              </a:r>
            </a:p>
          </p:txBody>
        </p:sp>
        <p:sp>
          <p:nvSpPr>
            <p:cNvPr id="45" name="Freeform 44"/>
            <p:cNvSpPr/>
            <p:nvPr/>
          </p:nvSpPr>
          <p:spPr>
            <a:xfrm>
              <a:off x="7921498" y="3924961"/>
              <a:ext cx="624416" cy="25927"/>
            </a:xfrm>
            <a:custGeom>
              <a:avLst/>
              <a:gdLst>
                <a:gd name="connsiteX0" fmla="*/ 0 w 624416"/>
                <a:gd name="connsiteY0" fmla="*/ 12963 h 25927"/>
                <a:gd name="connsiteX1" fmla="*/ 624416 w 624416"/>
                <a:gd name="connsiteY1" fmla="*/ 12963 h 25927"/>
              </a:gdLst>
              <a:ahLst/>
              <a:cxnLst>
                <a:cxn ang="0">
                  <a:pos x="connsiteX0" y="connsiteY0"/>
                </a:cxn>
                <a:cxn ang="0">
                  <a:pos x="connsiteX1" y="connsiteY1"/>
                </a:cxn>
              </a:cxnLst>
              <a:rect l="l" t="t" r="r" b="b"/>
              <a:pathLst>
                <a:path w="624416" h="25927">
                  <a:moveTo>
                    <a:pt x="0" y="12963"/>
                  </a:moveTo>
                  <a:lnTo>
                    <a:pt x="624416" y="12963"/>
                  </a:lnTo>
                </a:path>
              </a:pathLst>
            </a:custGeom>
            <a:noFill/>
            <a:ln w="12700">
              <a:tailEnd type="arrow" w="sm" len="sm"/>
            </a:ln>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txBody>
            <a:bodyPr spcFirstLastPara="0" vert="horz" wrap="square" lIns="309298" tIns="-2646" rIns="309298" bIns="-2647"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dirty="0">
                <a:ln>
                  <a:noFill/>
                </a:ln>
                <a:solidFill>
                  <a:prstClr val="black">
                    <a:hueOff val="0"/>
                    <a:satOff val="0"/>
                    <a:lumOff val="0"/>
                    <a:alphaOff val="0"/>
                  </a:prstClr>
                </a:solidFill>
                <a:effectLst/>
                <a:uLnTx/>
                <a:uFillTx/>
                <a:latin typeface="Gill Sans"/>
              </a:endParaRPr>
            </a:p>
          </p:txBody>
        </p:sp>
        <p:sp>
          <p:nvSpPr>
            <p:cNvPr id="46" name="Freeform 45"/>
            <p:cNvSpPr/>
            <p:nvPr/>
          </p:nvSpPr>
          <p:spPr>
            <a:xfrm>
              <a:off x="8545914" y="3547665"/>
              <a:ext cx="1561041" cy="780520"/>
            </a:xfrm>
            <a:custGeom>
              <a:avLst/>
              <a:gdLst>
                <a:gd name="connsiteX0" fmla="*/ 0 w 1561041"/>
                <a:gd name="connsiteY0" fmla="*/ 78052 h 780520"/>
                <a:gd name="connsiteX1" fmla="*/ 78052 w 1561041"/>
                <a:gd name="connsiteY1" fmla="*/ 0 h 780520"/>
                <a:gd name="connsiteX2" fmla="*/ 1482989 w 1561041"/>
                <a:gd name="connsiteY2" fmla="*/ 0 h 780520"/>
                <a:gd name="connsiteX3" fmla="*/ 1561041 w 1561041"/>
                <a:gd name="connsiteY3" fmla="*/ 78052 h 780520"/>
                <a:gd name="connsiteX4" fmla="*/ 1561041 w 1561041"/>
                <a:gd name="connsiteY4" fmla="*/ 702468 h 780520"/>
                <a:gd name="connsiteX5" fmla="*/ 1482989 w 1561041"/>
                <a:gd name="connsiteY5" fmla="*/ 780520 h 780520"/>
                <a:gd name="connsiteX6" fmla="*/ 78052 w 1561041"/>
                <a:gd name="connsiteY6" fmla="*/ 780520 h 780520"/>
                <a:gd name="connsiteX7" fmla="*/ 0 w 1561041"/>
                <a:gd name="connsiteY7" fmla="*/ 702468 h 780520"/>
                <a:gd name="connsiteX8" fmla="*/ 0 w 1561041"/>
                <a:gd name="connsiteY8" fmla="*/ 78052 h 78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041" h="780520">
                  <a:moveTo>
                    <a:pt x="0" y="78052"/>
                  </a:moveTo>
                  <a:cubicBezTo>
                    <a:pt x="0" y="34945"/>
                    <a:pt x="34945" y="0"/>
                    <a:pt x="78052" y="0"/>
                  </a:cubicBezTo>
                  <a:lnTo>
                    <a:pt x="1482989" y="0"/>
                  </a:lnTo>
                  <a:cubicBezTo>
                    <a:pt x="1526096" y="0"/>
                    <a:pt x="1561041" y="34945"/>
                    <a:pt x="1561041" y="78052"/>
                  </a:cubicBezTo>
                  <a:lnTo>
                    <a:pt x="1561041" y="702468"/>
                  </a:lnTo>
                  <a:cubicBezTo>
                    <a:pt x="1561041" y="745575"/>
                    <a:pt x="1526096" y="780520"/>
                    <a:pt x="1482989" y="780520"/>
                  </a:cubicBezTo>
                  <a:lnTo>
                    <a:pt x="78052" y="780520"/>
                  </a:lnTo>
                  <a:cubicBezTo>
                    <a:pt x="34945" y="780520"/>
                    <a:pt x="0" y="745575"/>
                    <a:pt x="0" y="702468"/>
                  </a:cubicBezTo>
                  <a:lnTo>
                    <a:pt x="0" y="78052"/>
                  </a:lnTo>
                  <a:close/>
                </a:path>
              </a:pathLst>
            </a:custGeom>
            <a:scene3d>
              <a:camera prst="orthographicFront"/>
              <a:lightRig rig="flat" dir="t"/>
            </a:scene3d>
            <a:sp3d prstMaterial="dkEdge">
              <a:bevelT w="8200" h="38100"/>
            </a:sp3d>
          </p:spPr>
          <p:style>
            <a:lnRef idx="0">
              <a:schemeClr val="dk1">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29846" tIns="29846" rIns="29846" bIns="29846"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Gill Sans"/>
                </a:rPr>
                <a:t>No advance notice of </a:t>
              </a:r>
              <a:r>
                <a:rPr kumimoji="0" lang="en-US" sz="1100" b="1" i="0" u="none" strike="noStrike" kern="1200" cap="none" spc="0" normalizeH="0" baseline="0" noProof="0" dirty="0">
                  <a:ln>
                    <a:noFill/>
                  </a:ln>
                  <a:solidFill>
                    <a:prstClr val="black">
                      <a:hueOff val="0"/>
                      <a:satOff val="0"/>
                      <a:lumOff val="0"/>
                      <a:alphaOff val="0"/>
                    </a:prstClr>
                  </a:solidFill>
                  <a:effectLst/>
                  <a:uLnTx/>
                  <a:uFillTx/>
                  <a:latin typeface="Gill Sans"/>
                </a:rPr>
                <a:t>non-renewal</a:t>
              </a: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Gill Sans"/>
                </a:rPr>
                <a:t> required if not reappointed</a:t>
              </a:r>
            </a:p>
          </p:txBody>
        </p:sp>
        <p:sp>
          <p:nvSpPr>
            <p:cNvPr id="48" name="Freeform 47"/>
            <p:cNvSpPr/>
            <p:nvPr/>
          </p:nvSpPr>
          <p:spPr>
            <a:xfrm>
              <a:off x="4174997" y="4445264"/>
              <a:ext cx="1561041" cy="780520"/>
            </a:xfrm>
            <a:custGeom>
              <a:avLst/>
              <a:gdLst>
                <a:gd name="connsiteX0" fmla="*/ 0 w 1561041"/>
                <a:gd name="connsiteY0" fmla="*/ 78052 h 780520"/>
                <a:gd name="connsiteX1" fmla="*/ 78052 w 1561041"/>
                <a:gd name="connsiteY1" fmla="*/ 0 h 780520"/>
                <a:gd name="connsiteX2" fmla="*/ 1482989 w 1561041"/>
                <a:gd name="connsiteY2" fmla="*/ 0 h 780520"/>
                <a:gd name="connsiteX3" fmla="*/ 1561041 w 1561041"/>
                <a:gd name="connsiteY3" fmla="*/ 78052 h 780520"/>
                <a:gd name="connsiteX4" fmla="*/ 1561041 w 1561041"/>
                <a:gd name="connsiteY4" fmla="*/ 702468 h 780520"/>
                <a:gd name="connsiteX5" fmla="*/ 1482989 w 1561041"/>
                <a:gd name="connsiteY5" fmla="*/ 780520 h 780520"/>
                <a:gd name="connsiteX6" fmla="*/ 78052 w 1561041"/>
                <a:gd name="connsiteY6" fmla="*/ 780520 h 780520"/>
                <a:gd name="connsiteX7" fmla="*/ 0 w 1561041"/>
                <a:gd name="connsiteY7" fmla="*/ 702468 h 780520"/>
                <a:gd name="connsiteX8" fmla="*/ 0 w 1561041"/>
                <a:gd name="connsiteY8" fmla="*/ 78052 h 78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041" h="780520">
                  <a:moveTo>
                    <a:pt x="0" y="78052"/>
                  </a:moveTo>
                  <a:cubicBezTo>
                    <a:pt x="0" y="34945"/>
                    <a:pt x="34945" y="0"/>
                    <a:pt x="78052" y="0"/>
                  </a:cubicBezTo>
                  <a:lnTo>
                    <a:pt x="1482989" y="0"/>
                  </a:lnTo>
                  <a:cubicBezTo>
                    <a:pt x="1526096" y="0"/>
                    <a:pt x="1561041" y="34945"/>
                    <a:pt x="1561041" y="78052"/>
                  </a:cubicBezTo>
                  <a:lnTo>
                    <a:pt x="1561041" y="702468"/>
                  </a:lnTo>
                  <a:cubicBezTo>
                    <a:pt x="1561041" y="745575"/>
                    <a:pt x="1526096" y="780520"/>
                    <a:pt x="1482989" y="780520"/>
                  </a:cubicBezTo>
                  <a:lnTo>
                    <a:pt x="78052" y="780520"/>
                  </a:lnTo>
                  <a:cubicBezTo>
                    <a:pt x="34945" y="780520"/>
                    <a:pt x="0" y="745575"/>
                    <a:pt x="0" y="702468"/>
                  </a:cubicBezTo>
                  <a:lnTo>
                    <a:pt x="0" y="78052"/>
                  </a:lnTo>
                  <a:close/>
                </a:path>
              </a:pathLst>
            </a:custGeom>
            <a:scene3d>
              <a:camera prst="orthographicFront"/>
              <a:lightRig rig="flat" dir="t"/>
            </a:scene3d>
            <a:sp3d prstMaterial="dkEdge">
              <a:bevelT w="8200" h="38100"/>
            </a:sp3d>
          </p:spPr>
          <p:style>
            <a:lnRef idx="0">
              <a:schemeClr val="dk1">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29846" tIns="29846" rIns="29846" bIns="29846"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Gill Sans"/>
                </a:rPr>
                <a:t>Employed 3 terms in AY`25-26</a:t>
              </a:r>
            </a:p>
          </p:txBody>
        </p:sp>
        <p:sp>
          <p:nvSpPr>
            <p:cNvPr id="49" name="Freeform 48"/>
            <p:cNvSpPr/>
            <p:nvPr/>
          </p:nvSpPr>
          <p:spPr>
            <a:xfrm>
              <a:off x="5736039" y="4822560"/>
              <a:ext cx="624416" cy="25927"/>
            </a:xfrm>
            <a:custGeom>
              <a:avLst/>
              <a:gdLst>
                <a:gd name="connsiteX0" fmla="*/ 0 w 624416"/>
                <a:gd name="connsiteY0" fmla="*/ 12963 h 25927"/>
                <a:gd name="connsiteX1" fmla="*/ 624416 w 624416"/>
                <a:gd name="connsiteY1" fmla="*/ 12963 h 25927"/>
              </a:gdLst>
              <a:ahLst/>
              <a:cxnLst>
                <a:cxn ang="0">
                  <a:pos x="connsiteX0" y="connsiteY0"/>
                </a:cxn>
                <a:cxn ang="0">
                  <a:pos x="connsiteX1" y="connsiteY1"/>
                </a:cxn>
              </a:cxnLst>
              <a:rect l="l" t="t" r="r" b="b"/>
              <a:pathLst>
                <a:path w="624416" h="25927">
                  <a:moveTo>
                    <a:pt x="0" y="12963"/>
                  </a:moveTo>
                  <a:lnTo>
                    <a:pt x="624416" y="12963"/>
                  </a:lnTo>
                </a:path>
              </a:pathLst>
            </a:custGeom>
            <a:noFill/>
            <a:ln w="12700">
              <a:tailEnd type="arrow" w="sm" len="sm"/>
            </a:ln>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txBody>
            <a:bodyPr spcFirstLastPara="0" vert="horz" wrap="square" lIns="309298" tIns="-2646" rIns="309298" bIns="-2647"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dirty="0">
                <a:ln>
                  <a:noFill/>
                </a:ln>
                <a:solidFill>
                  <a:prstClr val="black">
                    <a:hueOff val="0"/>
                    <a:satOff val="0"/>
                    <a:lumOff val="0"/>
                    <a:alphaOff val="0"/>
                  </a:prstClr>
                </a:solidFill>
                <a:effectLst/>
                <a:uLnTx/>
                <a:uFillTx/>
                <a:latin typeface="Gill Sans"/>
              </a:endParaRPr>
            </a:p>
          </p:txBody>
        </p:sp>
        <p:sp>
          <p:nvSpPr>
            <p:cNvPr id="50" name="Freeform 49"/>
            <p:cNvSpPr/>
            <p:nvPr/>
          </p:nvSpPr>
          <p:spPr>
            <a:xfrm>
              <a:off x="6360456" y="4445264"/>
              <a:ext cx="1561041" cy="780520"/>
            </a:xfrm>
            <a:custGeom>
              <a:avLst/>
              <a:gdLst>
                <a:gd name="connsiteX0" fmla="*/ 0 w 1561041"/>
                <a:gd name="connsiteY0" fmla="*/ 78052 h 780520"/>
                <a:gd name="connsiteX1" fmla="*/ 78052 w 1561041"/>
                <a:gd name="connsiteY1" fmla="*/ 0 h 780520"/>
                <a:gd name="connsiteX2" fmla="*/ 1482989 w 1561041"/>
                <a:gd name="connsiteY2" fmla="*/ 0 h 780520"/>
                <a:gd name="connsiteX3" fmla="*/ 1561041 w 1561041"/>
                <a:gd name="connsiteY3" fmla="*/ 78052 h 780520"/>
                <a:gd name="connsiteX4" fmla="*/ 1561041 w 1561041"/>
                <a:gd name="connsiteY4" fmla="*/ 702468 h 780520"/>
                <a:gd name="connsiteX5" fmla="*/ 1482989 w 1561041"/>
                <a:gd name="connsiteY5" fmla="*/ 780520 h 780520"/>
                <a:gd name="connsiteX6" fmla="*/ 78052 w 1561041"/>
                <a:gd name="connsiteY6" fmla="*/ 780520 h 780520"/>
                <a:gd name="connsiteX7" fmla="*/ 0 w 1561041"/>
                <a:gd name="connsiteY7" fmla="*/ 702468 h 780520"/>
                <a:gd name="connsiteX8" fmla="*/ 0 w 1561041"/>
                <a:gd name="connsiteY8" fmla="*/ 78052 h 78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041" h="780520">
                  <a:moveTo>
                    <a:pt x="0" y="78052"/>
                  </a:moveTo>
                  <a:cubicBezTo>
                    <a:pt x="0" y="34945"/>
                    <a:pt x="34945" y="0"/>
                    <a:pt x="78052" y="0"/>
                  </a:cubicBezTo>
                  <a:lnTo>
                    <a:pt x="1482989" y="0"/>
                  </a:lnTo>
                  <a:cubicBezTo>
                    <a:pt x="1526096" y="0"/>
                    <a:pt x="1561041" y="34945"/>
                    <a:pt x="1561041" y="78052"/>
                  </a:cubicBezTo>
                  <a:lnTo>
                    <a:pt x="1561041" y="702468"/>
                  </a:lnTo>
                  <a:cubicBezTo>
                    <a:pt x="1561041" y="745575"/>
                    <a:pt x="1526096" y="780520"/>
                    <a:pt x="1482989" y="780520"/>
                  </a:cubicBezTo>
                  <a:lnTo>
                    <a:pt x="78052" y="780520"/>
                  </a:lnTo>
                  <a:cubicBezTo>
                    <a:pt x="34945" y="780520"/>
                    <a:pt x="0" y="745575"/>
                    <a:pt x="0" y="702468"/>
                  </a:cubicBezTo>
                  <a:lnTo>
                    <a:pt x="0" y="78052"/>
                  </a:lnTo>
                  <a:close/>
                </a:path>
              </a:pathLst>
            </a:custGeom>
            <a:scene3d>
              <a:camera prst="orthographicFront"/>
              <a:lightRig rig="flat" dir="t"/>
            </a:scene3d>
            <a:sp3d prstMaterial="dkEdge">
              <a:bevelT w="8200" h="38100"/>
            </a:sp3d>
          </p:spPr>
          <p:style>
            <a:lnRef idx="0">
              <a:schemeClr val="dk1">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29846" tIns="29846" rIns="29846" bIns="29846"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Gill Sans"/>
                </a:rPr>
                <a:t>1 month of renewal notice required prior to expiration of existing appointment. </a:t>
              </a:r>
            </a:p>
          </p:txBody>
        </p:sp>
        <p:sp>
          <p:nvSpPr>
            <p:cNvPr id="51" name="Freeform 50"/>
            <p:cNvSpPr/>
            <p:nvPr/>
          </p:nvSpPr>
          <p:spPr>
            <a:xfrm>
              <a:off x="7921498" y="4822560"/>
              <a:ext cx="624416" cy="25927"/>
            </a:xfrm>
            <a:custGeom>
              <a:avLst/>
              <a:gdLst>
                <a:gd name="connsiteX0" fmla="*/ 0 w 624416"/>
                <a:gd name="connsiteY0" fmla="*/ 12963 h 25927"/>
                <a:gd name="connsiteX1" fmla="*/ 624416 w 624416"/>
                <a:gd name="connsiteY1" fmla="*/ 12963 h 25927"/>
              </a:gdLst>
              <a:ahLst/>
              <a:cxnLst>
                <a:cxn ang="0">
                  <a:pos x="connsiteX0" y="connsiteY0"/>
                </a:cxn>
                <a:cxn ang="0">
                  <a:pos x="connsiteX1" y="connsiteY1"/>
                </a:cxn>
              </a:cxnLst>
              <a:rect l="l" t="t" r="r" b="b"/>
              <a:pathLst>
                <a:path w="624416" h="25927">
                  <a:moveTo>
                    <a:pt x="0" y="12963"/>
                  </a:moveTo>
                  <a:lnTo>
                    <a:pt x="624416" y="12963"/>
                  </a:lnTo>
                </a:path>
              </a:pathLst>
            </a:custGeom>
            <a:noFill/>
            <a:ln w="12700">
              <a:tailEnd type="arrow" w="sm" len="sm"/>
            </a:ln>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txBody>
            <a:bodyPr spcFirstLastPara="0" vert="horz" wrap="square" lIns="309298" tIns="-2646" rIns="309298" bIns="-2647"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dirty="0">
                <a:ln>
                  <a:noFill/>
                </a:ln>
                <a:solidFill>
                  <a:prstClr val="black">
                    <a:hueOff val="0"/>
                    <a:satOff val="0"/>
                    <a:lumOff val="0"/>
                    <a:alphaOff val="0"/>
                  </a:prstClr>
                </a:solidFill>
                <a:effectLst/>
                <a:uLnTx/>
                <a:uFillTx/>
                <a:latin typeface="Gill Sans"/>
              </a:endParaRPr>
            </a:p>
          </p:txBody>
        </p:sp>
        <p:sp>
          <p:nvSpPr>
            <p:cNvPr id="52" name="Freeform 51"/>
            <p:cNvSpPr/>
            <p:nvPr/>
          </p:nvSpPr>
          <p:spPr>
            <a:xfrm>
              <a:off x="8545914" y="4445264"/>
              <a:ext cx="1561041" cy="780520"/>
            </a:xfrm>
            <a:custGeom>
              <a:avLst/>
              <a:gdLst>
                <a:gd name="connsiteX0" fmla="*/ 0 w 1561041"/>
                <a:gd name="connsiteY0" fmla="*/ 78052 h 780520"/>
                <a:gd name="connsiteX1" fmla="*/ 78052 w 1561041"/>
                <a:gd name="connsiteY1" fmla="*/ 0 h 780520"/>
                <a:gd name="connsiteX2" fmla="*/ 1482989 w 1561041"/>
                <a:gd name="connsiteY2" fmla="*/ 0 h 780520"/>
                <a:gd name="connsiteX3" fmla="*/ 1561041 w 1561041"/>
                <a:gd name="connsiteY3" fmla="*/ 78052 h 780520"/>
                <a:gd name="connsiteX4" fmla="*/ 1561041 w 1561041"/>
                <a:gd name="connsiteY4" fmla="*/ 702468 h 780520"/>
                <a:gd name="connsiteX5" fmla="*/ 1482989 w 1561041"/>
                <a:gd name="connsiteY5" fmla="*/ 780520 h 780520"/>
                <a:gd name="connsiteX6" fmla="*/ 78052 w 1561041"/>
                <a:gd name="connsiteY6" fmla="*/ 780520 h 780520"/>
                <a:gd name="connsiteX7" fmla="*/ 0 w 1561041"/>
                <a:gd name="connsiteY7" fmla="*/ 702468 h 780520"/>
                <a:gd name="connsiteX8" fmla="*/ 0 w 1561041"/>
                <a:gd name="connsiteY8" fmla="*/ 78052 h 78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041" h="780520">
                  <a:moveTo>
                    <a:pt x="0" y="78052"/>
                  </a:moveTo>
                  <a:cubicBezTo>
                    <a:pt x="0" y="34945"/>
                    <a:pt x="34945" y="0"/>
                    <a:pt x="78052" y="0"/>
                  </a:cubicBezTo>
                  <a:lnTo>
                    <a:pt x="1482989" y="0"/>
                  </a:lnTo>
                  <a:cubicBezTo>
                    <a:pt x="1526096" y="0"/>
                    <a:pt x="1561041" y="34945"/>
                    <a:pt x="1561041" y="78052"/>
                  </a:cubicBezTo>
                  <a:lnTo>
                    <a:pt x="1561041" y="702468"/>
                  </a:lnTo>
                  <a:cubicBezTo>
                    <a:pt x="1561041" y="745575"/>
                    <a:pt x="1526096" y="780520"/>
                    <a:pt x="1482989" y="780520"/>
                  </a:cubicBezTo>
                  <a:lnTo>
                    <a:pt x="78052" y="780520"/>
                  </a:lnTo>
                  <a:cubicBezTo>
                    <a:pt x="34945" y="780520"/>
                    <a:pt x="0" y="745575"/>
                    <a:pt x="0" y="702468"/>
                  </a:cubicBezTo>
                  <a:lnTo>
                    <a:pt x="0" y="78052"/>
                  </a:lnTo>
                  <a:close/>
                </a:path>
              </a:pathLst>
            </a:custGeom>
            <a:scene3d>
              <a:camera prst="orthographicFront"/>
              <a:lightRig rig="flat" dir="t"/>
            </a:scene3d>
            <a:sp3d prstMaterial="dkEdge">
              <a:bevelT w="8200" h="38100"/>
            </a:sp3d>
          </p:spPr>
          <p:style>
            <a:lnRef idx="0">
              <a:schemeClr val="dk1">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29846" tIns="29846" rIns="29846" bIns="29846"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Gill Sans"/>
                </a:rPr>
                <a:t>1 month of </a:t>
              </a:r>
              <a:r>
                <a:rPr kumimoji="0" lang="en-US" sz="1100" b="1" i="0" u="none" strike="noStrike" kern="1200" cap="none" spc="0" normalizeH="0" baseline="0" noProof="0" dirty="0">
                  <a:ln>
                    <a:noFill/>
                  </a:ln>
                  <a:solidFill>
                    <a:prstClr val="black">
                      <a:hueOff val="0"/>
                      <a:satOff val="0"/>
                      <a:lumOff val="0"/>
                      <a:alphaOff val="0"/>
                    </a:prstClr>
                  </a:solidFill>
                  <a:effectLst/>
                  <a:uLnTx/>
                  <a:uFillTx/>
                  <a:latin typeface="Gill Sans"/>
                </a:rPr>
                <a:t>non-renewal </a:t>
              </a: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Gill Sans"/>
                </a:rPr>
                <a:t>notice required prior to the expiration of existing appointment</a:t>
              </a:r>
            </a:p>
          </p:txBody>
        </p:sp>
      </p:grpSp>
    </p:spTree>
    <p:extLst>
      <p:ext uri="{BB962C8B-B14F-4D97-AF65-F5344CB8AC3E}">
        <p14:creationId xmlns:p14="http://schemas.microsoft.com/office/powerpoint/2010/main" val="3988034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320800" y="2106337"/>
            <a:ext cx="9144000" cy="1508105"/>
          </a:xfrm>
          <a:prstGeom prst="rect">
            <a:avLst/>
          </a:prstGeom>
          <a:solidFill>
            <a:srgbClr val="FED7C7"/>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ill Sans"/>
                <a:ea typeface="ＭＳ Ｐゴシック"/>
              </a:rPr>
              <a:t>All Notices of Appointment for instructional positions will include enrollment langu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ill Sans"/>
                <a:ea typeface="ＭＳ Ｐゴシック"/>
              </a:rPr>
              <a:t>NOAs are issued to employees via DocuSign process and are not provided to depart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ill Sans"/>
                <a:ea typeface="ＭＳ Ｐゴシック"/>
              </a:rPr>
              <a:t>NOAs do not include language about grant or other “soft” fund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ill Sans"/>
                <a:ea typeface="ＭＳ Ｐゴシック"/>
              </a:rPr>
              <a:t>INTO has unique language for its instructors</a:t>
            </a:r>
            <a:b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a:cs typeface="+mn-cs"/>
              </a:rPr>
            </a:b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itle 1"/>
          <p:cNvSpPr>
            <a:spLocks noGrp="1"/>
          </p:cNvSpPr>
          <p:nvPr>
            <p:ph type="title"/>
          </p:nvPr>
        </p:nvSpPr>
        <p:spPr>
          <a:xfrm>
            <a:off x="1097280" y="286604"/>
            <a:ext cx="10058400" cy="1027424"/>
          </a:xfrm>
        </p:spPr>
        <p:txBody>
          <a:bodyPr>
            <a:normAutofit/>
          </a:bodyPr>
          <a:lstStyle/>
          <a:p>
            <a:r>
              <a:rPr lang="en-US" sz="3000" b="1" dirty="0">
                <a:latin typeface="Verdana" panose="020B0604030504040204" pitchFamily="34" charset="0"/>
                <a:ea typeface="Verdana" panose="020B0604030504040204" pitchFamily="34" charset="0"/>
              </a:rPr>
              <a:t>Notices of Appointment (NOA)</a:t>
            </a:r>
          </a:p>
        </p:txBody>
      </p:sp>
    </p:spTree>
    <p:extLst>
      <p:ext uri="{BB962C8B-B14F-4D97-AF65-F5344CB8AC3E}">
        <p14:creationId xmlns:p14="http://schemas.microsoft.com/office/powerpoint/2010/main" val="567252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a:t>Agenda</a:t>
            </a:r>
          </a:p>
        </p:txBody>
      </p:sp>
      <p:pic>
        <p:nvPicPr>
          <p:cNvPr id="6" name="Picture Placeholder 5" descr="&quot;&quot;"/>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63" b="63"/>
          <a:stretch>
            <a:fillRect/>
          </a:stretch>
        </p:blipFill>
        <p:spPr>
          <a:xfrm>
            <a:off x="625481" y="649834"/>
            <a:ext cx="504121" cy="504122"/>
          </a:xfrm>
        </p:spPr>
      </p:pic>
      <p:sp>
        <p:nvSpPr>
          <p:cNvPr id="4" name="Content Placeholder 2">
            <a:extLst>
              <a:ext uri="{FF2B5EF4-FFF2-40B4-BE49-F238E27FC236}">
                <a16:creationId xmlns:a16="http://schemas.microsoft.com/office/drawing/2014/main" id="{13923E9E-B63C-E87E-A001-0A00AA0D2A77}"/>
              </a:ext>
            </a:extLst>
          </p:cNvPr>
          <p:cNvSpPr txBox="1">
            <a:spLocks/>
          </p:cNvSpPr>
          <p:nvPr/>
        </p:nvSpPr>
        <p:spPr>
          <a:xfrm>
            <a:off x="1335127" y="1562686"/>
            <a:ext cx="10157782" cy="396029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Announcements</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Rec Sports 3-day pass</a:t>
            </a:r>
            <a:endParaRPr lang="en-US" sz="16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Benefits triple process</a:t>
            </a:r>
          </a:p>
          <a:p>
            <a:pPr marL="285115" indent="-285115">
              <a:lnSpc>
                <a:spcPct val="100000"/>
              </a:lnSpc>
              <a:spcBef>
                <a:spcPts val="1200"/>
              </a:spcBef>
              <a:buClrTx/>
              <a:buSzPct val="100000"/>
              <a:buBlip>
                <a:blip r:embed="rId4"/>
              </a:buBlip>
              <a:defRPr/>
            </a:pPr>
            <a:r>
              <a:rPr lang="en-US" sz="1600" dirty="0">
                <a:solidFill>
                  <a:prstClr val="black"/>
                </a:solidFill>
                <a:ea typeface="Gill Sans" charset="0"/>
                <a:cs typeface="Gill Sans" charset="0"/>
              </a:rPr>
              <a:t>Summer health insurance – Grads</a:t>
            </a:r>
            <a:endParaRPr kumimoji="0" lang="en-US" sz="1600" b="0" i="0" u="none" strike="noStrike" kern="1200" cap="none" spc="0" normalizeH="0" baseline="0" noProof="0" dirty="0">
              <a:ln>
                <a:noFill/>
              </a:ln>
              <a:solidFill>
                <a:prstClr val="black"/>
              </a:solidFill>
              <a:effectLst/>
              <a:uLnTx/>
              <a:uFillTx/>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Fixed-Term Renewals</a:t>
            </a:r>
          </a:p>
        </p:txBody>
      </p:sp>
    </p:spTree>
    <p:extLst>
      <p:ext uri="{BB962C8B-B14F-4D97-AF65-F5344CB8AC3E}">
        <p14:creationId xmlns:p14="http://schemas.microsoft.com/office/powerpoint/2010/main" val="42319280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3118028738"/>
              </p:ext>
            </p:extLst>
          </p:nvPr>
        </p:nvGraphicFramePr>
        <p:xfrm>
          <a:off x="576469" y="1239078"/>
          <a:ext cx="11145079" cy="50689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a:xfrm>
            <a:off x="456520" y="442097"/>
            <a:ext cx="6598281" cy="507831"/>
          </a:xfrm>
          <a:prstGeom prst="rect">
            <a:avLst/>
          </a:prstGeom>
        </p:spPr>
        <p:txBody>
          <a:bodyPr wrap="none">
            <a:spAutoFit/>
          </a:bodyPr>
          <a:lstStyle/>
          <a:p>
            <a:pPr marL="0" marR="0" lvl="0" indent="0" algn="l" defTabSz="2133600" rtl="0" eaLnBrk="1" fontAlgn="auto" latinLnBrk="0" hangingPunct="1">
              <a:lnSpc>
                <a:spcPct val="90000"/>
              </a:lnSpc>
              <a:spcBef>
                <a:spcPct val="0"/>
              </a:spcBef>
              <a:spcAft>
                <a:spcPct val="3500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Common Concerns and Needs</a:t>
            </a:r>
          </a:p>
        </p:txBody>
      </p:sp>
    </p:spTree>
    <p:extLst>
      <p:ext uri="{BB962C8B-B14F-4D97-AF65-F5344CB8AC3E}">
        <p14:creationId xmlns:p14="http://schemas.microsoft.com/office/powerpoint/2010/main" val="11515879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A4C0D-EF55-4115-2D9B-0223F8C02EA0}"/>
              </a:ext>
            </a:extLst>
          </p:cNvPr>
          <p:cNvSpPr>
            <a:spLocks noGrp="1"/>
          </p:cNvSpPr>
          <p:nvPr>
            <p:ph type="title"/>
          </p:nvPr>
        </p:nvSpPr>
        <p:spPr/>
        <p:txBody>
          <a:bodyPr>
            <a:normAutofit/>
          </a:bodyPr>
          <a:lstStyle/>
          <a:p>
            <a:pPr algn="ctr"/>
            <a:r>
              <a:rPr lang="en-US" sz="4000" b="1" dirty="0">
                <a:latin typeface="Verdana" panose="020B0604030504040204" pitchFamily="34" charset="0"/>
                <a:ea typeface="Verdana" panose="020B0604030504040204" pitchFamily="34" charset="0"/>
              </a:rPr>
              <a:t>Questions?</a:t>
            </a:r>
          </a:p>
        </p:txBody>
      </p:sp>
      <p:sp>
        <p:nvSpPr>
          <p:cNvPr id="4" name="Footer Placeholder 3">
            <a:extLst>
              <a:ext uri="{FF2B5EF4-FFF2-40B4-BE49-F238E27FC236}">
                <a16:creationId xmlns:a16="http://schemas.microsoft.com/office/drawing/2014/main" id="{C0763794-6DFF-5A9B-1A26-6D1933B8700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0" normalizeH="0" baseline="0" noProof="0">
                <a:ln>
                  <a:noFill/>
                </a:ln>
                <a:solidFill>
                  <a:srgbClr val="FFFFFF"/>
                </a:solidFill>
                <a:effectLst/>
                <a:uLnTx/>
                <a:uFillTx/>
                <a:latin typeface="Calibri" panose="020F0502020204030204"/>
                <a:ea typeface="+mn-ea"/>
                <a:cs typeface="+mn-cs"/>
              </a:rPr>
              <a:t>Sue Theiss, MA, University Ombuds Office, 2018</a:t>
            </a:r>
            <a:endParaRPr kumimoji="0" lang="en-US" sz="900" b="0" i="0" u="none" strike="noStrike" kern="1200" cap="all"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12682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03DA1-E5CF-808B-39E5-AFA188FC15B2}"/>
              </a:ext>
            </a:extLst>
          </p:cNvPr>
          <p:cNvSpPr>
            <a:spLocks noGrp="1"/>
          </p:cNvSpPr>
          <p:nvPr>
            <p:ph type="title"/>
          </p:nvPr>
        </p:nvSpPr>
        <p:spPr/>
        <p:txBody>
          <a:bodyPr/>
          <a:lstStyle/>
          <a:p>
            <a:r>
              <a:rPr lang="en-US" dirty="0"/>
              <a:t>Final Questions?</a:t>
            </a:r>
          </a:p>
        </p:txBody>
      </p:sp>
      <p:pic>
        <p:nvPicPr>
          <p:cNvPr id="5" name="Picture Placeholder 4" descr="Thought outline">
            <a:extLst>
              <a:ext uri="{FF2B5EF4-FFF2-40B4-BE49-F238E27FC236}">
                <a16:creationId xmlns:a16="http://schemas.microsoft.com/office/drawing/2014/main" id="{0A837C31-6A86-4741-4DD3-0B73E7D1F86F}"/>
              </a:ext>
            </a:extLst>
          </p:cNvPr>
          <p:cNvPicPr>
            <a:picLocks noGrp="1" noChangeAspect="1"/>
          </p:cNvPicPr>
          <p:nvPr>
            <p:ph type="pic" sz="quarter" idx="10"/>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5383551" y="2106707"/>
            <a:ext cx="1424900" cy="1424900"/>
          </a:xfrm>
        </p:spPr>
      </p:pic>
    </p:spTree>
    <p:extLst>
      <p:ext uri="{BB962C8B-B14F-4D97-AF65-F5344CB8AC3E}">
        <p14:creationId xmlns:p14="http://schemas.microsoft.com/office/powerpoint/2010/main" val="34253405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3756624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FF79F-E6DB-ABE4-8E7D-FD4136B8E5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1B2518-E8E3-391E-D853-67B5CE547052}"/>
              </a:ext>
            </a:extLst>
          </p:cNvPr>
          <p:cNvSpPr>
            <a:spLocks noGrp="1"/>
          </p:cNvSpPr>
          <p:nvPr>
            <p:ph type="title"/>
          </p:nvPr>
        </p:nvSpPr>
        <p:spPr/>
        <p:txBody>
          <a:bodyPr>
            <a:noAutofit/>
          </a:bodyPr>
          <a:lstStyle/>
          <a:p>
            <a:r>
              <a:rPr lang="en-US" sz="3000" dirty="0"/>
              <a:t>Announcements</a:t>
            </a:r>
          </a:p>
        </p:txBody>
      </p:sp>
      <p:pic>
        <p:nvPicPr>
          <p:cNvPr id="6" name="Picture Placeholder 5" descr="&quot;&quot;">
            <a:extLst>
              <a:ext uri="{FF2B5EF4-FFF2-40B4-BE49-F238E27FC236}">
                <a16:creationId xmlns:a16="http://schemas.microsoft.com/office/drawing/2014/main" id="{364DBB4C-83F9-709C-E771-6ADDC3084982}"/>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57" b="157"/>
          <a:stretch>
            <a:fillRect/>
          </a:stretch>
        </p:blipFill>
        <p:spPr>
          <a:xfrm>
            <a:off x="615950" y="615033"/>
            <a:ext cx="570848" cy="569052"/>
          </a:xfrm>
          <a:prstGeom prst="rect">
            <a:avLst/>
          </a:prstGeom>
        </p:spPr>
      </p:pic>
      <p:sp>
        <p:nvSpPr>
          <p:cNvPr id="3" name="TextBox 2">
            <a:extLst>
              <a:ext uri="{FF2B5EF4-FFF2-40B4-BE49-F238E27FC236}">
                <a16:creationId xmlns:a16="http://schemas.microsoft.com/office/drawing/2014/main" id="{97A8DAA8-6CCF-45CC-427C-50A65F40B86D}"/>
              </a:ext>
            </a:extLst>
          </p:cNvPr>
          <p:cNvSpPr txBox="1"/>
          <p:nvPr/>
        </p:nvSpPr>
        <p:spPr>
          <a:xfrm>
            <a:off x="1250806" y="1394397"/>
            <a:ext cx="9996314" cy="66787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115" indent="-285115">
              <a:spcBef>
                <a:spcPts val="1200"/>
              </a:spcBef>
              <a:buSzPct val="100000"/>
              <a:buBlip>
                <a:blip r:embed="rId4"/>
              </a:buBlip>
              <a:defRPr/>
            </a:pPr>
            <a:r>
              <a:rPr lang="en-US" sz="1600" dirty="0">
                <a:solidFill>
                  <a:srgbClr val="000000"/>
                </a:solidFill>
                <a:latin typeface="Gill Sans"/>
              </a:rPr>
              <a:t>The Payroll Operations Team is now located in </a:t>
            </a:r>
            <a:r>
              <a:rPr lang="en-US" sz="1600" b="1" dirty="0">
                <a:solidFill>
                  <a:srgbClr val="D73F09"/>
                </a:solidFill>
                <a:latin typeface="Gill Sans"/>
              </a:rPr>
              <a:t>University Plaza Suite 150!</a:t>
            </a:r>
          </a:p>
          <a:p>
            <a:pPr marL="742950" lvl="1" indent="-285750">
              <a:spcBef>
                <a:spcPts val="1200"/>
              </a:spcBef>
              <a:buClr>
                <a:srgbClr val="D73F09"/>
              </a:buClr>
              <a:buSzPct val="100000"/>
              <a:buFont typeface="Arial" panose="020B0604020202020204" pitchFamily="34" charset="0"/>
              <a:buChar char="•"/>
              <a:defRPr/>
            </a:pPr>
            <a:r>
              <a:rPr lang="en-US" sz="1600" dirty="0">
                <a:solidFill>
                  <a:srgbClr val="000000"/>
                </a:solidFill>
                <a:latin typeface="Gill Sans"/>
              </a:rPr>
              <a:t>Employees or students picking up physical paychecks or who have payroll-related questions should visit Payroll Operations in their new location at </a:t>
            </a:r>
            <a:r>
              <a:rPr lang="en-US" sz="1600" dirty="0">
                <a:solidFill>
                  <a:srgbClr val="00859B"/>
                </a:solidFill>
                <a:latin typeface="Gill Sans"/>
                <a:hlinkClick r:id="rId5">
                  <a:extLst>
                    <a:ext uri="{A12FA001-AC4F-418D-AE19-62706E023703}">
                      <ahyp:hlinkClr xmlns:ahyp="http://schemas.microsoft.com/office/drawing/2018/hyperlinkcolor" val="tx"/>
                    </a:ext>
                  </a:extLst>
                </a:hlinkClick>
              </a:rPr>
              <a:t>University Plaza</a:t>
            </a:r>
            <a:r>
              <a:rPr lang="en-US" sz="1600" dirty="0">
                <a:solidFill>
                  <a:srgbClr val="000000"/>
                </a:solidFill>
                <a:latin typeface="Gill Sans"/>
              </a:rPr>
              <a:t>, Suite 150. This will be the only location for check pick-up. Please visit </a:t>
            </a:r>
            <a:r>
              <a:rPr lang="en-US" sz="1600" dirty="0">
                <a:solidFill>
                  <a:srgbClr val="00859B"/>
                </a:solidFill>
                <a:latin typeface="Gill Sans"/>
                <a:hlinkClick r:id="rId6">
                  <a:extLst>
                    <a:ext uri="{A12FA001-AC4F-418D-AE19-62706E023703}">
                      <ahyp:hlinkClr xmlns:ahyp="http://schemas.microsoft.com/office/drawing/2018/hyperlinkcolor" val="tx"/>
                    </a:ext>
                  </a:extLst>
                </a:hlinkClick>
              </a:rPr>
              <a:t>Payroll Operations</a:t>
            </a:r>
            <a:r>
              <a:rPr lang="en-US" sz="1600" dirty="0">
                <a:solidFill>
                  <a:srgbClr val="00859B"/>
                </a:solidFill>
                <a:latin typeface="Gill Sans"/>
              </a:rPr>
              <a:t> </a:t>
            </a:r>
            <a:r>
              <a:rPr lang="en-US" sz="1600" dirty="0">
                <a:solidFill>
                  <a:srgbClr val="000000"/>
                </a:solidFill>
                <a:latin typeface="Gill Sans"/>
              </a:rPr>
              <a:t>for more information.</a:t>
            </a:r>
          </a:p>
          <a:p>
            <a:pPr lvl="1">
              <a:spcBef>
                <a:spcPts val="1200"/>
              </a:spcBef>
              <a:buSzPct val="100000"/>
              <a:defRPr/>
            </a:pPr>
            <a:endParaRPr lang="en-US" sz="1600" dirty="0">
              <a:solidFill>
                <a:srgbClr val="000000"/>
              </a:solidFill>
              <a:latin typeface="Gill Sans"/>
            </a:endParaRPr>
          </a:p>
          <a:p>
            <a:pPr marL="285115" indent="-285115">
              <a:spcBef>
                <a:spcPts val="1200"/>
              </a:spcBef>
              <a:buSzPct val="100000"/>
              <a:buBlip>
                <a:blip r:embed="rId4"/>
              </a:buBlip>
              <a:defRPr/>
            </a:pPr>
            <a:r>
              <a:rPr lang="en-US" sz="1600" dirty="0"/>
              <a:t>Student Employment AMP Cutover</a:t>
            </a:r>
          </a:p>
          <a:p>
            <a:pPr marL="742950" lvl="1" indent="-285750">
              <a:spcBef>
                <a:spcPts val="1200"/>
              </a:spcBef>
              <a:buClr>
                <a:srgbClr val="D73F09"/>
              </a:buClr>
              <a:buSzPct val="100000"/>
              <a:buFont typeface="Arial" panose="020B0604020202020204" pitchFamily="34" charset="0"/>
              <a:buChar char="•"/>
              <a:defRPr/>
            </a:pPr>
            <a:r>
              <a:rPr lang="en-US" sz="1600" dirty="0"/>
              <a:t>Student hourly positions must have a start date on or before June 12, 2026.</a:t>
            </a:r>
          </a:p>
          <a:p>
            <a:pPr marL="1200150" lvl="2" indent="-285750">
              <a:spcBef>
                <a:spcPts val="1200"/>
              </a:spcBef>
              <a:buClr>
                <a:srgbClr val="D73F09"/>
              </a:buClr>
              <a:buSzPct val="100000"/>
              <a:buFont typeface="Arial" panose="020B0604020202020204" pitchFamily="34" charset="0"/>
              <a:buChar char="•"/>
              <a:defRPr/>
            </a:pPr>
            <a:r>
              <a:rPr lang="en-US" sz="1600" dirty="0"/>
              <a:t>If students remain in the queue after June 12, their start date will be moved to July 6 and they CANNOT work until then.</a:t>
            </a:r>
          </a:p>
          <a:p>
            <a:pPr marL="742950" lvl="1" indent="-285750">
              <a:spcBef>
                <a:spcPts val="1200"/>
              </a:spcBef>
              <a:buClr>
                <a:srgbClr val="D73F09"/>
              </a:buClr>
              <a:buSzPct val="100000"/>
              <a:buFont typeface="Arial" panose="020B0604020202020204" pitchFamily="34" charset="0"/>
              <a:buChar char="•"/>
              <a:defRPr/>
            </a:pPr>
            <a:r>
              <a:rPr lang="en-US" sz="1600" dirty="0"/>
              <a:t>May 15, 2026, is the last day supervisors can submit supervisor updates with an effective date no later than June 1, 2026.</a:t>
            </a:r>
          </a:p>
          <a:p>
            <a:pPr marL="742950" lvl="1" indent="-285750">
              <a:spcBef>
                <a:spcPts val="1200"/>
              </a:spcBef>
              <a:buClr>
                <a:srgbClr val="D73F09"/>
              </a:buClr>
              <a:buSzPct val="100000"/>
              <a:buFont typeface="Arial" panose="020B0604020202020204" pitchFamily="34" charset="0"/>
              <a:buChar char="•"/>
              <a:defRPr/>
            </a:pPr>
            <a:r>
              <a:rPr lang="en-US" sz="1600" dirty="0"/>
              <a:t>June 1, 2026, is the last day supervisors can submit wage increases with an effective date no later than June 1, 2026</a:t>
            </a:r>
          </a:p>
          <a:p>
            <a:pPr marL="742950" lvl="1" indent="-285750">
              <a:spcBef>
                <a:spcPts val="1200"/>
              </a:spcBef>
              <a:buClr>
                <a:srgbClr val="D73F09"/>
              </a:buClr>
              <a:buSzPct val="100000"/>
              <a:buFont typeface="Arial" panose="020B0604020202020204" pitchFamily="34" charset="0"/>
              <a:buChar char="•"/>
              <a:defRPr/>
            </a:pPr>
            <a:r>
              <a:rPr lang="en-US" sz="1600" dirty="0"/>
              <a:t>Graduate Assistantships for Summer term must be entered into </a:t>
            </a:r>
            <a:r>
              <a:rPr lang="en-US" sz="1600" dirty="0" err="1"/>
              <a:t>BennyHire</a:t>
            </a:r>
            <a:r>
              <a:rPr lang="en-US" sz="1600" dirty="0"/>
              <a:t> by June 9, 2026 with the start date of June 16, 2026. </a:t>
            </a:r>
          </a:p>
          <a:p>
            <a:pPr marL="285115" indent="-285115">
              <a:spcBef>
                <a:spcPts val="1200"/>
              </a:spcBef>
              <a:buSzPct val="100000"/>
              <a:buBlip>
                <a:blip r:embed="rId4"/>
              </a:buBlip>
              <a:defRPr/>
            </a:pPr>
            <a:endParaRPr lang="en-US" sz="1600" dirty="0">
              <a:solidFill>
                <a:srgbClr val="000000"/>
              </a:solidFill>
              <a:latin typeface="Gill Sans"/>
            </a:endParaRPr>
          </a:p>
          <a:p>
            <a:pPr marL="742315" lvl="1" indent="-285115">
              <a:spcBef>
                <a:spcPts val="1200"/>
              </a:spcBef>
              <a:buSzPct val="100000"/>
              <a:buChar char="•"/>
              <a:defRPr/>
            </a:pPr>
            <a:endParaRPr lang="en-US" sz="1600" dirty="0">
              <a:solidFill>
                <a:srgbClr val="000000"/>
              </a:solidFill>
            </a:endParaRPr>
          </a:p>
          <a:p>
            <a:pPr>
              <a:spcBef>
                <a:spcPts val="1200"/>
              </a:spcBef>
              <a:buSzPct val="100000"/>
              <a:defRPr/>
            </a:pPr>
            <a:endParaRPr lang="en-US" dirty="0">
              <a:solidFill>
                <a:srgbClr val="000000"/>
              </a:solidFill>
            </a:endParaRPr>
          </a:p>
          <a:p>
            <a:pPr lvl="1">
              <a:spcBef>
                <a:spcPts val="1200"/>
              </a:spcBef>
              <a:buSzPct val="100000"/>
              <a:defRPr/>
            </a:pPr>
            <a:endParaRPr lang="en-US" dirty="0">
              <a:solidFill>
                <a:srgbClr val="000000"/>
              </a:solidFill>
            </a:endParaRPr>
          </a:p>
        </p:txBody>
      </p:sp>
    </p:spTree>
    <p:extLst>
      <p:ext uri="{BB962C8B-B14F-4D97-AF65-F5344CB8AC3E}">
        <p14:creationId xmlns:p14="http://schemas.microsoft.com/office/powerpoint/2010/main" val="1708329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8358EB-6278-4683-8DBE-9F3BBFAE53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41604A-05A9-C611-A9E7-BCB71B25E7E5}"/>
              </a:ext>
            </a:extLst>
          </p:cNvPr>
          <p:cNvSpPr>
            <a:spLocks noGrp="1"/>
          </p:cNvSpPr>
          <p:nvPr>
            <p:ph type="title"/>
          </p:nvPr>
        </p:nvSpPr>
        <p:spPr/>
        <p:txBody>
          <a:bodyPr>
            <a:noAutofit/>
          </a:bodyPr>
          <a:lstStyle/>
          <a:p>
            <a:r>
              <a:rPr lang="en-US" sz="3000" dirty="0"/>
              <a:t>Announcement – Financial Literacy Month</a:t>
            </a:r>
          </a:p>
        </p:txBody>
      </p:sp>
      <p:sp>
        <p:nvSpPr>
          <p:cNvPr id="4" name="Content Placeholder 2">
            <a:extLst>
              <a:ext uri="{FF2B5EF4-FFF2-40B4-BE49-F238E27FC236}">
                <a16:creationId xmlns:a16="http://schemas.microsoft.com/office/drawing/2014/main" id="{24B87810-1209-387C-225B-620F1F08875B}"/>
              </a:ext>
            </a:extLst>
          </p:cNvPr>
          <p:cNvSpPr txBox="1">
            <a:spLocks/>
          </p:cNvSpPr>
          <p:nvPr/>
        </p:nvSpPr>
        <p:spPr>
          <a:xfrm>
            <a:off x="1335127" y="1540295"/>
            <a:ext cx="10157782" cy="396029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The OSU Employee Benefits Retirement Team invites all OSU Employees to attend financial literacy sessions in April for Financial Literacy Month. </a:t>
            </a:r>
            <a:r>
              <a:rPr kumimoji="0" lang="en-US" sz="1600" b="1" i="0" u="none" strike="noStrike" kern="1200" cap="none" spc="0" normalizeH="0" baseline="0" noProof="0" dirty="0">
                <a:ln>
                  <a:noFill/>
                </a:ln>
                <a:solidFill>
                  <a:prstClr val="black"/>
                </a:solidFill>
                <a:effectLst/>
                <a:uLnTx/>
                <a:uFillTx/>
                <a:ea typeface="Gill Sans" charset="0"/>
                <a:cs typeface="Gill Sans" charset="0"/>
              </a:rPr>
              <a:t>Registration for the remaining sessions is open now</a:t>
            </a:r>
            <a:r>
              <a:rPr kumimoji="0" lang="en-US" sz="1600" b="0" i="0" u="none" strike="noStrike" kern="1200" cap="none" spc="0" normalizeH="0" baseline="0" noProof="0" dirty="0">
                <a:ln>
                  <a:noFill/>
                </a:ln>
                <a:solidFill>
                  <a:prstClr val="black"/>
                </a:solidFill>
                <a:effectLst/>
                <a:uLnTx/>
                <a:uFillTx/>
                <a:ea typeface="Gill Sans" charset="0"/>
                <a:cs typeface="Gill Sans" charset="0"/>
              </a:rPr>
              <a:t>!</a:t>
            </a:r>
          </a:p>
          <a:p>
            <a:pPr lvl="1">
              <a:lnSpc>
                <a:spcPct val="100000"/>
              </a:lnSpc>
              <a:spcBef>
                <a:spcPts val="1200"/>
              </a:spcBef>
              <a:buClr>
                <a:srgbClr val="D73F09"/>
              </a:buClr>
              <a:buSzPct val="100000"/>
              <a:buFont typeface="Arial" panose="020B0604020202020204" pitchFamily="34" charset="0"/>
              <a:buChar char="•"/>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Fundamentals of Retirement Income Planning. Led by Fidelity. </a:t>
            </a:r>
            <a:r>
              <a:rPr kumimoji="0" lang="en-US" sz="1600" b="1" i="0" u="none" strike="noStrike" kern="1200" cap="none" spc="0" normalizeH="0" baseline="0" noProof="0" dirty="0">
                <a:ln>
                  <a:noFill/>
                </a:ln>
                <a:solidFill>
                  <a:prstClr val="black"/>
                </a:solidFill>
                <a:effectLst/>
                <a:uLnTx/>
                <a:uFillTx/>
                <a:ea typeface="Gill Sans" charset="0"/>
                <a:cs typeface="Gill Sans" charset="0"/>
              </a:rPr>
              <a:t>April 16, 12</a:t>
            </a:r>
            <a:r>
              <a:rPr lang="en-US" sz="1600" b="1" dirty="0">
                <a:solidFill>
                  <a:prstClr val="black"/>
                </a:solidFill>
                <a:ea typeface="Gill Sans" charset="0"/>
                <a:cs typeface="Gill Sans" charset="0"/>
              </a:rPr>
              <a:t>:00</a:t>
            </a:r>
            <a:r>
              <a:rPr kumimoji="0" lang="en-US" sz="1600" b="1" i="0" u="none" strike="noStrike" kern="1200" cap="none" spc="0" normalizeH="0" baseline="0" noProof="0" dirty="0">
                <a:ln>
                  <a:noFill/>
                </a:ln>
                <a:solidFill>
                  <a:prstClr val="black"/>
                </a:solidFill>
                <a:effectLst/>
                <a:uLnTx/>
                <a:uFillTx/>
                <a:ea typeface="Gill Sans" charset="0"/>
                <a:cs typeface="Gill Sans" charset="0"/>
              </a:rPr>
              <a:t>-1:00 p.m. </a:t>
            </a:r>
            <a:r>
              <a:rPr kumimoji="0" lang="en-US" sz="1600" b="1" i="0" u="none" strike="noStrike" kern="1200" cap="none" spc="0" normalizeH="0" baseline="0" noProof="0" dirty="0">
                <a:ln>
                  <a:noFill/>
                </a:ln>
                <a:solidFill>
                  <a:srgbClr val="D73F09"/>
                </a:solidFill>
                <a:effectLst/>
                <a:uLnTx/>
                <a:uFillTx/>
                <a:ea typeface="Gill Sans" charset="0"/>
                <a:cs typeface="Gill Sans" charset="0"/>
              </a:rPr>
              <a:t>(Right after the forum!)</a:t>
            </a:r>
            <a:endParaRPr kumimoji="0" lang="en-US" sz="1600" b="0" i="0" u="none" strike="noStrike" kern="1200" cap="none" spc="0" normalizeH="0" baseline="0" noProof="0" dirty="0">
              <a:ln>
                <a:noFill/>
              </a:ln>
              <a:solidFill>
                <a:srgbClr val="D73F09"/>
              </a:solidFill>
              <a:effectLst/>
              <a:uLnTx/>
              <a:uFillTx/>
              <a:ea typeface="Gill Sans" charset="0"/>
              <a:cs typeface="Gill Sans" charset="0"/>
            </a:endParaRPr>
          </a:p>
          <a:p>
            <a:pPr lvl="1">
              <a:lnSpc>
                <a:spcPct val="100000"/>
              </a:lnSpc>
              <a:spcBef>
                <a:spcPts val="1200"/>
              </a:spcBef>
              <a:buClr>
                <a:srgbClr val="D73F09"/>
              </a:buClr>
              <a:buSzPct val="100000"/>
              <a:buFont typeface="Arial" panose="020B0604020202020204" pitchFamily="34" charset="0"/>
              <a:buChar char="•"/>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Introduction to Oregon Savings Growth Plan. Led by OSGP. </a:t>
            </a:r>
            <a:r>
              <a:rPr kumimoji="0" lang="en-US" sz="1600" b="1" i="0" u="none" strike="noStrike" kern="1200" cap="none" spc="0" normalizeH="0" baseline="0" noProof="0" dirty="0">
                <a:ln>
                  <a:noFill/>
                </a:ln>
                <a:solidFill>
                  <a:prstClr val="black"/>
                </a:solidFill>
                <a:effectLst/>
                <a:uLnTx/>
                <a:uFillTx/>
                <a:ea typeface="Gill Sans" charset="0"/>
                <a:cs typeface="Gill Sans" charset="0"/>
              </a:rPr>
              <a:t>April 20, 2:00-3:00 p.m.</a:t>
            </a:r>
            <a:endParaRPr kumimoji="0" lang="en-US" sz="1600" b="0" i="0" u="none" strike="noStrike" kern="1200" cap="none" spc="0" normalizeH="0" baseline="0" noProof="0" dirty="0">
              <a:ln>
                <a:noFill/>
              </a:ln>
              <a:solidFill>
                <a:prstClr val="black"/>
              </a:solidFill>
              <a:effectLst/>
              <a:uLnTx/>
              <a:uFillTx/>
              <a:ea typeface="Gill Sans" charset="0"/>
              <a:cs typeface="Gill Sans" charset="0"/>
            </a:endParaRPr>
          </a:p>
          <a:p>
            <a:pPr lvl="1">
              <a:lnSpc>
                <a:spcPct val="100000"/>
              </a:lnSpc>
              <a:spcBef>
                <a:spcPts val="1200"/>
              </a:spcBef>
              <a:buClr>
                <a:srgbClr val="D73F09"/>
              </a:buClr>
              <a:buSzPct val="100000"/>
              <a:buFont typeface="Arial" panose="020B0604020202020204" pitchFamily="34" charset="0"/>
              <a:buChar char="•"/>
              <a:defRPr/>
            </a:pPr>
            <a:r>
              <a:rPr kumimoji="0" lang="en-US" sz="1600" b="0" i="0" u="none" strike="noStrike" kern="1200" cap="none" spc="0" normalizeH="0" baseline="0" noProof="0" dirty="0">
                <a:ln>
                  <a:noFill/>
                </a:ln>
                <a:solidFill>
                  <a:prstClr val="black"/>
                </a:solidFill>
                <a:effectLst/>
                <a:uLnTx/>
                <a:uFillTx/>
                <a:ea typeface="Gill Sans" charset="0"/>
                <a:cs typeface="Gill Sans" charset="0"/>
              </a:rPr>
              <a:t>All about OPSRP. Led by PERS. </a:t>
            </a:r>
            <a:r>
              <a:rPr kumimoji="0" lang="en-US" sz="1600" b="1" i="0" u="none" strike="noStrike" kern="1200" cap="none" spc="0" normalizeH="0" baseline="0" noProof="0" dirty="0">
                <a:ln>
                  <a:noFill/>
                </a:ln>
                <a:solidFill>
                  <a:prstClr val="black"/>
                </a:solidFill>
                <a:effectLst/>
                <a:uLnTx/>
                <a:uFillTx/>
                <a:ea typeface="Gill Sans" charset="0"/>
                <a:cs typeface="Gill Sans" charset="0"/>
              </a:rPr>
              <a:t>April 28, 10:00-12:00 p.m.</a:t>
            </a:r>
          </a:p>
        </p:txBody>
      </p:sp>
      <p:pic>
        <p:nvPicPr>
          <p:cNvPr id="3" name="Picture Placeholder 5" descr="&quot;&quot;">
            <a:extLst>
              <a:ext uri="{FF2B5EF4-FFF2-40B4-BE49-F238E27FC236}">
                <a16:creationId xmlns:a16="http://schemas.microsoft.com/office/drawing/2014/main" id="{B6318B2D-C522-F1D5-5A4D-95BAC7B8EA5D}"/>
              </a:ext>
            </a:extLst>
          </p:cNvPr>
          <p:cNvPicPr>
            <a:picLocks noGrp="1" noChangeAspect="1"/>
          </p:cNvPicPr>
          <p:nvPr>
            <p:ph type="pic" sz="quarter" idx="10"/>
          </p:nvPr>
        </p:nvPicPr>
        <p:blipFill>
          <a:blip r:embed="rId4" cstate="print">
            <a:extLst>
              <a:ext uri="{28A0092B-C50C-407E-A947-70E740481C1C}">
                <a14:useLocalDpi xmlns:a14="http://schemas.microsoft.com/office/drawing/2010/main" val="0"/>
              </a:ext>
            </a:extLst>
          </a:blip>
          <a:srcRect t="157" b="157"/>
          <a:stretch>
            <a:fillRect/>
          </a:stretch>
        </p:blipFill>
        <p:spPr>
          <a:xfrm>
            <a:off x="615949" y="621793"/>
            <a:ext cx="569481" cy="567690"/>
          </a:xfrm>
          <a:prstGeom prst="rect">
            <a:avLst/>
          </a:prstGeom>
        </p:spPr>
      </p:pic>
      <p:sp>
        <p:nvSpPr>
          <p:cNvPr id="7" name="TextBox 6">
            <a:extLst>
              <a:ext uri="{FF2B5EF4-FFF2-40B4-BE49-F238E27FC236}">
                <a16:creationId xmlns:a16="http://schemas.microsoft.com/office/drawing/2014/main" id="{95AE8C74-EC78-D33B-839C-C333E10961F4}"/>
              </a:ext>
            </a:extLst>
          </p:cNvPr>
          <p:cNvSpPr txBox="1"/>
          <p:nvPr/>
        </p:nvSpPr>
        <p:spPr>
          <a:xfrm>
            <a:off x="3669030" y="4063676"/>
            <a:ext cx="6094476" cy="1354217"/>
          </a:xfrm>
          <a:prstGeom prst="rect">
            <a:avLst/>
          </a:prstGeom>
          <a:noFill/>
        </p:spPr>
        <p:txBody>
          <a:bodyPr wrap="square">
            <a:spAutoFit/>
          </a:bodyPr>
          <a:lstStyle/>
          <a:p>
            <a:r>
              <a:rPr lang="en-US" sz="1600" dirty="0"/>
              <a:t>Attend as many sessions as you wish. To register, scan the QR code and search for Financial Literacy.</a:t>
            </a:r>
          </a:p>
          <a:p>
            <a:endParaRPr lang="en-US" sz="1600" dirty="0"/>
          </a:p>
          <a:p>
            <a:endParaRPr lang="en-US" sz="1600" dirty="0"/>
          </a:p>
          <a:p>
            <a:r>
              <a:rPr lang="en-US" sz="1600" dirty="0"/>
              <a:t>All sessions will be held on Zoom.</a:t>
            </a:r>
          </a:p>
        </p:txBody>
      </p:sp>
      <p:pic>
        <p:nvPicPr>
          <p:cNvPr id="1026" name="Picture 2" descr="A qr code on a white background&#10;&#10;">
            <a:extLst>
              <a:ext uri="{FF2B5EF4-FFF2-40B4-BE49-F238E27FC236}">
                <a16:creationId xmlns:a16="http://schemas.microsoft.com/office/drawing/2014/main" id="{7D4A2DC7-57E1-8804-0259-BE30EF47DE9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28494" y="4178809"/>
            <a:ext cx="1123950" cy="1123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4557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96CD7-C016-C3C7-C5B7-71CCE73A4090}"/>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9CD2766-E1A7-78A5-6F63-F7579F2C01E3}"/>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1362495" y="900874"/>
            <a:ext cx="10213556" cy="5746826"/>
          </a:xfrm>
          <a:prstGeom prst="rect">
            <a:avLst/>
          </a:prstGeom>
        </p:spPr>
      </p:pic>
      <p:sp>
        <p:nvSpPr>
          <p:cNvPr id="2" name="Title 1">
            <a:extLst>
              <a:ext uri="{FF2B5EF4-FFF2-40B4-BE49-F238E27FC236}">
                <a16:creationId xmlns:a16="http://schemas.microsoft.com/office/drawing/2014/main" id="{C97DB2E7-D9D3-3E9D-7EC9-E15FC0ED20DE}"/>
              </a:ext>
            </a:extLst>
          </p:cNvPr>
          <p:cNvSpPr>
            <a:spLocks noGrp="1"/>
          </p:cNvSpPr>
          <p:nvPr>
            <p:ph type="title"/>
          </p:nvPr>
        </p:nvSpPr>
        <p:spPr>
          <a:xfrm>
            <a:off x="1696488" y="653410"/>
            <a:ext cx="9879563" cy="494927"/>
          </a:xfrm>
        </p:spPr>
        <p:txBody>
          <a:bodyPr>
            <a:noAutofit/>
          </a:bodyPr>
          <a:lstStyle/>
          <a:p>
            <a:r>
              <a:rPr lang="en-US" sz="3000" dirty="0"/>
              <a:t>Announcement – AMP </a:t>
            </a:r>
          </a:p>
        </p:txBody>
      </p:sp>
      <p:pic>
        <p:nvPicPr>
          <p:cNvPr id="3" name="Picture Placeholder 5" descr="&quot;&quot;">
            <a:extLst>
              <a:ext uri="{FF2B5EF4-FFF2-40B4-BE49-F238E27FC236}">
                <a16:creationId xmlns:a16="http://schemas.microsoft.com/office/drawing/2014/main" id="{73031B33-E9ED-06B8-8FA6-7A1E865ED1B7}"/>
              </a:ext>
            </a:extLst>
          </p:cNvPr>
          <p:cNvPicPr>
            <a:picLocks noGrp="1" noChangeAspect="1"/>
          </p:cNvPicPr>
          <p:nvPr>
            <p:ph type="pic" sz="quarter" idx="10"/>
          </p:nvPr>
        </p:nvPicPr>
        <p:blipFill>
          <a:blip r:embed="rId4" cstate="print">
            <a:extLst>
              <a:ext uri="{28A0092B-C50C-407E-A947-70E740481C1C}">
                <a14:useLocalDpi xmlns:a14="http://schemas.microsoft.com/office/drawing/2010/main" val="0"/>
              </a:ext>
            </a:extLst>
          </a:blip>
          <a:srcRect t="157" b="157"/>
          <a:stretch>
            <a:fillRect/>
          </a:stretch>
        </p:blipFill>
        <p:spPr>
          <a:xfrm>
            <a:off x="615949" y="621793"/>
            <a:ext cx="569481" cy="567690"/>
          </a:xfrm>
          <a:prstGeom prst="rect">
            <a:avLst/>
          </a:prstGeom>
        </p:spPr>
      </p:pic>
      <p:sp>
        <p:nvSpPr>
          <p:cNvPr id="4" name="TextBox 3">
            <a:extLst>
              <a:ext uri="{FF2B5EF4-FFF2-40B4-BE49-F238E27FC236}">
                <a16:creationId xmlns:a16="http://schemas.microsoft.com/office/drawing/2014/main" id="{AB7B6E61-AB63-3427-4398-31DBD6BE8E12}"/>
              </a:ext>
            </a:extLst>
          </p:cNvPr>
          <p:cNvSpPr txBox="1">
            <a:spLocks noGrp="1" noRot="1" noMove="1" noResize="1" noEditPoints="1" noAdjustHandles="1" noChangeArrowheads="1" noChangeShapeType="1"/>
          </p:cNvSpPr>
          <p:nvPr/>
        </p:nvSpPr>
        <p:spPr>
          <a:xfrm>
            <a:off x="1781842" y="2849143"/>
            <a:ext cx="2278094" cy="400110"/>
          </a:xfrm>
          <a:prstGeom prst="rect">
            <a:avLst/>
          </a:prstGeom>
          <a:solidFill>
            <a:schemeClr val="bg1"/>
          </a:solidFill>
        </p:spPr>
        <p:txBody>
          <a:bodyPr wrap="square" rtlCol="0">
            <a:spAutoFit/>
          </a:bodyPr>
          <a:lstStyle/>
          <a:p>
            <a:pPr algn="ctr"/>
            <a:r>
              <a:rPr lang="en-US" sz="2000" b="1" dirty="0"/>
              <a:t>9:00 AM – 3:00 PM</a:t>
            </a:r>
            <a:endParaRPr lang="en-US" sz="2400" b="1" dirty="0"/>
          </a:p>
        </p:txBody>
      </p:sp>
    </p:spTree>
    <p:extLst>
      <p:ext uri="{BB962C8B-B14F-4D97-AF65-F5344CB8AC3E}">
        <p14:creationId xmlns:p14="http://schemas.microsoft.com/office/powerpoint/2010/main" val="32616625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CCBBE-ED39-28A7-2AD4-D4513F6E16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9E654B-0270-19D9-FDF8-67B07D6B57B6}"/>
              </a:ext>
            </a:extLst>
          </p:cNvPr>
          <p:cNvSpPr>
            <a:spLocks noGrp="1"/>
          </p:cNvSpPr>
          <p:nvPr>
            <p:ph type="title"/>
          </p:nvPr>
        </p:nvSpPr>
        <p:spPr/>
        <p:txBody>
          <a:bodyPr>
            <a:noAutofit/>
          </a:bodyPr>
          <a:lstStyle/>
          <a:p>
            <a:r>
              <a:rPr lang="en-US" sz="3000" dirty="0"/>
              <a:t>Rec Sports 3-day pass overview</a:t>
            </a:r>
          </a:p>
        </p:txBody>
      </p:sp>
      <p:sp>
        <p:nvSpPr>
          <p:cNvPr id="4" name="Content Placeholder 2">
            <a:extLst>
              <a:ext uri="{FF2B5EF4-FFF2-40B4-BE49-F238E27FC236}">
                <a16:creationId xmlns:a16="http://schemas.microsoft.com/office/drawing/2014/main" id="{A8A4FA0F-85BF-4BB0-82C7-0B30D1BB6CD6}"/>
              </a:ext>
            </a:extLst>
          </p:cNvPr>
          <p:cNvSpPr txBox="1">
            <a:spLocks/>
          </p:cNvSpPr>
          <p:nvPr/>
        </p:nvSpPr>
        <p:spPr>
          <a:xfrm>
            <a:off x="1232561" y="1238836"/>
            <a:ext cx="10376857" cy="36936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buClrTx/>
              <a:buSzPct val="100000"/>
              <a:buNone/>
              <a:defRPr/>
            </a:pPr>
            <a:r>
              <a:rPr lang="en-US" sz="1800" b="1" dirty="0">
                <a:solidFill>
                  <a:prstClr val="black"/>
                </a:solidFill>
                <a:latin typeface="Gill Sans"/>
                <a:ea typeface="Gill Sans" charset="0"/>
                <a:cs typeface="Gill Sans" charset="0"/>
              </a:rPr>
              <a:t>                   Start your health and wellness journey at </a:t>
            </a:r>
            <a:r>
              <a:rPr lang="en-US" sz="1800" b="1" dirty="0">
                <a:latin typeface="Gill Sans"/>
                <a:ea typeface="Gill Sans" charset="0"/>
                <a:cs typeface="Gill Sans" charset="0"/>
              </a:rPr>
              <a:t>Rec Sports with the</a:t>
            </a:r>
            <a:r>
              <a:rPr lang="en-US" sz="1800" b="1" dirty="0">
                <a:solidFill>
                  <a:srgbClr val="E8580A"/>
                </a:solidFill>
                <a:latin typeface="Gill Sans"/>
                <a:ea typeface="Gill Sans" charset="0"/>
                <a:cs typeface="Gill Sans" charset="0"/>
              </a:rPr>
              <a:t> </a:t>
            </a:r>
            <a:r>
              <a:rPr lang="en-US" sz="1800" b="1" dirty="0">
                <a:solidFill>
                  <a:srgbClr val="D73F09"/>
                </a:solidFill>
                <a:latin typeface="Gill Sans"/>
                <a:ea typeface="Gill Sans" charset="0"/>
                <a:cs typeface="Gill Sans" charset="0"/>
              </a:rPr>
              <a:t>first three days FREE!</a:t>
            </a:r>
          </a:p>
        </p:txBody>
      </p:sp>
      <p:pic>
        <p:nvPicPr>
          <p:cNvPr id="10" name="Picture Placeholder 9" descr="A qr code on a white background&#10;&#10;AI-generated content may be incorrect.">
            <a:extLst>
              <a:ext uri="{FF2B5EF4-FFF2-40B4-BE49-F238E27FC236}">
                <a16:creationId xmlns:a16="http://schemas.microsoft.com/office/drawing/2014/main" id="{9C7FCE9B-A3FB-C844-F128-086E4C33FFD9}"/>
              </a:ext>
            </a:extLst>
          </p:cNvPr>
          <p:cNvPicPr>
            <a:picLocks noGrp="1" noChangeAspect="1"/>
          </p:cNvPicPr>
          <p:nvPr>
            <p:ph type="pic" sz="quarter" idx="10"/>
          </p:nvPr>
        </p:nvPicPr>
        <p:blipFill>
          <a:blip r:embed="rId3"/>
          <a:srcRect l="449" r="449"/>
          <a:stretch/>
        </p:blipFill>
        <p:spPr>
          <a:xfrm>
            <a:off x="10330634" y="5107581"/>
            <a:ext cx="1399471" cy="1466147"/>
          </a:xfrm>
          <a:prstGeom prst="rect">
            <a:avLst/>
          </a:prstGeom>
          <a:ln>
            <a:solidFill>
              <a:srgbClr val="D73F09"/>
            </a:solidFill>
          </a:ln>
        </p:spPr>
      </p:pic>
      <p:sp>
        <p:nvSpPr>
          <p:cNvPr id="3" name="Content Placeholder 2">
            <a:extLst>
              <a:ext uri="{FF2B5EF4-FFF2-40B4-BE49-F238E27FC236}">
                <a16:creationId xmlns:a16="http://schemas.microsoft.com/office/drawing/2014/main" id="{5EF78162-ADF9-63C0-F832-F8A11F4A2F1E}"/>
              </a:ext>
            </a:extLst>
          </p:cNvPr>
          <p:cNvSpPr txBox="1">
            <a:spLocks/>
          </p:cNvSpPr>
          <p:nvPr/>
        </p:nvSpPr>
        <p:spPr>
          <a:xfrm>
            <a:off x="887451" y="1715085"/>
            <a:ext cx="4366582" cy="390314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spcBef>
                <a:spcPts val="0"/>
              </a:spcBef>
              <a:buClrTx/>
              <a:buSzPct val="100000"/>
              <a:buNone/>
              <a:defRPr/>
            </a:pPr>
            <a:r>
              <a:rPr lang="en-US" sz="1400" b="1" dirty="0">
                <a:latin typeface="Gill Sans"/>
                <a:ea typeface="Gill Sans" charset="0"/>
                <a:cs typeface="Gill Sans" charset="0"/>
              </a:rPr>
              <a:t>Our Facilities </a:t>
            </a:r>
          </a:p>
          <a:p>
            <a:pPr marL="0" indent="0">
              <a:lnSpc>
                <a:spcPct val="110000"/>
              </a:lnSpc>
              <a:spcBef>
                <a:spcPts val="0"/>
              </a:spcBef>
              <a:buClrTx/>
              <a:buNone/>
              <a:defRPr/>
            </a:pPr>
            <a:r>
              <a:rPr lang="en-US" sz="1400" dirty="0">
                <a:solidFill>
                  <a:srgbClr val="D73F09"/>
                </a:solidFill>
                <a:latin typeface="Gill Sans"/>
                <a:ea typeface="Gill Sans" charset="0"/>
                <a:cs typeface="Gill Sans" charset="0"/>
              </a:rPr>
              <a:t>Dixon Recreation Center</a:t>
            </a:r>
          </a:p>
          <a:p>
            <a:pPr marL="285115" lvl="0" indent="-285115">
              <a:lnSpc>
                <a:spcPct val="110000"/>
              </a:lnSpc>
              <a:spcBef>
                <a:spcPts val="0"/>
              </a:spcBef>
              <a:buClrTx/>
              <a:buSzPct val="100000"/>
              <a:buBlip>
                <a:blip r:embed="rId4"/>
              </a:buBlip>
              <a:defRPr/>
            </a:pPr>
            <a:r>
              <a:rPr lang="en-US" sz="1400" dirty="0">
                <a:latin typeface="Gill Sans"/>
                <a:ea typeface="Gill Sans" charset="0"/>
                <a:cs typeface="Gill Sans" charset="0"/>
              </a:rPr>
              <a:t>Courts, Lap &amp; Dive Pool, Indoor Climbing Center, Fitness Studios, Weight Rooms, Indoor Track</a:t>
            </a:r>
          </a:p>
          <a:p>
            <a:pPr marL="285115" lvl="0" indent="-285115">
              <a:lnSpc>
                <a:spcPct val="110000"/>
              </a:lnSpc>
              <a:spcBef>
                <a:spcPts val="0"/>
              </a:spcBef>
              <a:buClrTx/>
              <a:buSzPct val="100000"/>
              <a:buBlip>
                <a:blip r:embed="rId4"/>
              </a:buBlip>
              <a:defRPr/>
            </a:pPr>
            <a:r>
              <a:rPr lang="en-US" sz="1400" dirty="0">
                <a:solidFill>
                  <a:srgbClr val="000000"/>
                </a:solidFill>
                <a:latin typeface="Gill Sans"/>
                <a:ea typeface="Gill Sans" charset="0"/>
                <a:cs typeface="Gill Sans" charset="0"/>
              </a:rPr>
              <a:t>Amenities: Locker rooms with towel service, day-use lockers, sauna, free sport and pool equipment rental</a:t>
            </a:r>
          </a:p>
          <a:p>
            <a:pPr marL="0" lvl="0" indent="0">
              <a:lnSpc>
                <a:spcPct val="110000"/>
              </a:lnSpc>
              <a:spcBef>
                <a:spcPts val="0"/>
              </a:spcBef>
              <a:buClrTx/>
              <a:buSzPct val="100000"/>
              <a:buNone/>
              <a:defRPr/>
            </a:pPr>
            <a:r>
              <a:rPr lang="en-US" sz="1400" dirty="0">
                <a:solidFill>
                  <a:srgbClr val="000000"/>
                </a:solidFill>
                <a:latin typeface="Gill Sans"/>
                <a:ea typeface="Gill Sans" charset="0"/>
                <a:cs typeface="Gill Sans" charset="0"/>
              </a:rPr>
              <a:t> </a:t>
            </a:r>
          </a:p>
          <a:p>
            <a:pPr marL="0" indent="0">
              <a:lnSpc>
                <a:spcPct val="110000"/>
              </a:lnSpc>
              <a:spcBef>
                <a:spcPts val="0"/>
              </a:spcBef>
              <a:buClrTx/>
              <a:buNone/>
              <a:defRPr/>
            </a:pPr>
            <a:r>
              <a:rPr lang="en-US" sz="1400" dirty="0">
                <a:solidFill>
                  <a:srgbClr val="D73F09"/>
                </a:solidFill>
                <a:latin typeface="Gill Sans"/>
                <a:ea typeface="Gill Sans" charset="0"/>
                <a:cs typeface="Gill Sans" charset="0"/>
              </a:rPr>
              <a:t>McAlexander Field House (MAC)</a:t>
            </a:r>
          </a:p>
          <a:p>
            <a:pPr marL="285115" lvl="0" indent="-285115">
              <a:lnSpc>
                <a:spcPct val="110000"/>
              </a:lnSpc>
              <a:spcBef>
                <a:spcPts val="0"/>
              </a:spcBef>
              <a:buClrTx/>
              <a:buSzPct val="100000"/>
              <a:buBlip>
                <a:blip r:embed="rId4"/>
              </a:buBlip>
              <a:defRPr/>
            </a:pPr>
            <a:r>
              <a:rPr lang="en-US" sz="1400" dirty="0">
                <a:latin typeface="Gill Sans"/>
                <a:ea typeface="Gill Sans" charset="0"/>
                <a:cs typeface="Gill Sans" charset="0"/>
              </a:rPr>
              <a:t>Courts, Indoor Climbing Center, Indoor Turf Field, Functional Training Equipment </a:t>
            </a:r>
          </a:p>
          <a:p>
            <a:pPr marL="285115" lvl="0" indent="-285115">
              <a:lnSpc>
                <a:spcPct val="110000"/>
              </a:lnSpc>
              <a:spcBef>
                <a:spcPts val="0"/>
              </a:spcBef>
              <a:buClrTx/>
              <a:buSzPct val="100000"/>
              <a:buBlip>
                <a:blip r:embed="rId4"/>
              </a:buBlip>
              <a:defRPr/>
            </a:pPr>
            <a:endParaRPr lang="en-US" sz="1400" dirty="0">
              <a:latin typeface="Gill Sans"/>
              <a:ea typeface="Gill Sans" charset="0"/>
              <a:cs typeface="Gill Sans" charset="0"/>
            </a:endParaRPr>
          </a:p>
          <a:p>
            <a:pPr marL="0" indent="0">
              <a:lnSpc>
                <a:spcPct val="110000"/>
              </a:lnSpc>
              <a:spcBef>
                <a:spcPts val="0"/>
              </a:spcBef>
              <a:buClrTx/>
              <a:buNone/>
              <a:defRPr/>
            </a:pPr>
            <a:r>
              <a:rPr lang="en-US" sz="1400" dirty="0">
                <a:solidFill>
                  <a:srgbClr val="D73F09"/>
                </a:solidFill>
                <a:latin typeface="Gill Sans"/>
                <a:ea typeface="Gill Sans" charset="0"/>
                <a:cs typeface="Gill Sans" charset="0"/>
              </a:rPr>
              <a:t>Student Legacy Park</a:t>
            </a:r>
          </a:p>
          <a:p>
            <a:pPr marL="285115" lvl="0" indent="-285115">
              <a:lnSpc>
                <a:spcPct val="110000"/>
              </a:lnSpc>
              <a:spcBef>
                <a:spcPts val="0"/>
              </a:spcBef>
              <a:buClrTx/>
              <a:buSzPct val="100000"/>
              <a:buBlip>
                <a:blip r:embed="rId4"/>
              </a:buBlip>
              <a:defRPr/>
            </a:pPr>
            <a:r>
              <a:rPr lang="en-US" sz="1400" dirty="0">
                <a:latin typeface="Gill Sans"/>
                <a:ea typeface="Gill Sans" charset="0"/>
                <a:cs typeface="Gill Sans" charset="0"/>
              </a:rPr>
              <a:t>Soccer, Football, Softball Fields, Outdoor Track, Indoor &amp; Outdoor Tennis Courts </a:t>
            </a:r>
          </a:p>
          <a:p>
            <a:pPr marL="0" indent="0">
              <a:lnSpc>
                <a:spcPct val="100000"/>
              </a:lnSpc>
              <a:spcBef>
                <a:spcPts val="1200"/>
              </a:spcBef>
              <a:buClrTx/>
              <a:buNone/>
              <a:defRPr/>
            </a:pPr>
            <a:endParaRPr lang="en-US" sz="1600" dirty="0">
              <a:latin typeface="Kievit Offc"/>
              <a:ea typeface="Gill Sans" charset="0"/>
              <a:cs typeface="Gill Sans" charset="0"/>
            </a:endParaRPr>
          </a:p>
        </p:txBody>
      </p:sp>
      <p:sp>
        <p:nvSpPr>
          <p:cNvPr id="6" name="Content Placeholder 2">
            <a:extLst>
              <a:ext uri="{FF2B5EF4-FFF2-40B4-BE49-F238E27FC236}">
                <a16:creationId xmlns:a16="http://schemas.microsoft.com/office/drawing/2014/main" id="{AF8D4013-7B8B-011D-222A-B37363D9EE12}"/>
              </a:ext>
            </a:extLst>
          </p:cNvPr>
          <p:cNvSpPr txBox="1">
            <a:spLocks/>
          </p:cNvSpPr>
          <p:nvPr/>
        </p:nvSpPr>
        <p:spPr>
          <a:xfrm>
            <a:off x="5390291" y="1734135"/>
            <a:ext cx="5914258" cy="4217465"/>
          </a:xfrm>
          <a:prstGeom prst="rect">
            <a:avLst/>
          </a:prstGeom>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0"/>
              </a:spcBef>
              <a:buClrTx/>
              <a:buSzPct val="100000"/>
              <a:buNone/>
              <a:defRPr/>
            </a:pPr>
            <a:r>
              <a:rPr lang="en-US" sz="1400" b="1" dirty="0">
                <a:latin typeface="Gill Sans"/>
                <a:ea typeface="Verdana"/>
              </a:rPr>
              <a:t>Jump into a fitness journey right for you! </a:t>
            </a:r>
          </a:p>
          <a:p>
            <a:pPr marL="285115" lvl="0" indent="-285115">
              <a:lnSpc>
                <a:spcPct val="120000"/>
              </a:lnSpc>
              <a:spcBef>
                <a:spcPts val="0"/>
              </a:spcBef>
              <a:buClrTx/>
              <a:buSzPct val="100000"/>
              <a:buBlip>
                <a:blip r:embed="rId4"/>
              </a:buBlip>
              <a:defRPr/>
            </a:pPr>
            <a:r>
              <a:rPr lang="en-US" sz="1400" dirty="0">
                <a:latin typeface="Gill Sans"/>
                <a:ea typeface="Verdana"/>
                <a:cs typeface="Gill Sans" charset="0"/>
              </a:rPr>
              <a:t>Group Fitness Classes</a:t>
            </a:r>
          </a:p>
          <a:p>
            <a:pPr lvl="1">
              <a:lnSpc>
                <a:spcPct val="120000"/>
              </a:lnSpc>
              <a:spcBef>
                <a:spcPts val="0"/>
              </a:spcBef>
              <a:buClr>
                <a:srgbClr val="D73F09"/>
              </a:buClr>
              <a:buSzPct val="100000"/>
              <a:buFont typeface="Arial" panose="020B0604020202020204" pitchFamily="34" charset="0"/>
              <a:buChar char="•"/>
              <a:defRPr/>
            </a:pPr>
            <a:r>
              <a:rPr lang="en-US" sz="1400" dirty="0">
                <a:latin typeface="Gill Sans"/>
                <a:ea typeface="Verdana"/>
                <a:cs typeface="Gill Sans" charset="0"/>
              </a:rPr>
              <a:t>Cycling, Pilates, Yoga, Aqua Fit, Full Body Strength</a:t>
            </a:r>
          </a:p>
          <a:p>
            <a:pPr marL="457200" lvl="1" indent="0">
              <a:lnSpc>
                <a:spcPct val="120000"/>
              </a:lnSpc>
              <a:spcBef>
                <a:spcPts val="0"/>
              </a:spcBef>
              <a:buClrTx/>
              <a:buSzPct val="100000"/>
              <a:buNone/>
              <a:defRPr/>
            </a:pPr>
            <a:endParaRPr lang="en-US" sz="1400" dirty="0">
              <a:latin typeface="Gill Sans"/>
              <a:ea typeface="Verdana"/>
              <a:cs typeface="Gill Sans" charset="0"/>
            </a:endParaRPr>
          </a:p>
          <a:p>
            <a:pPr marL="285115" indent="-285115">
              <a:lnSpc>
                <a:spcPct val="120000"/>
              </a:lnSpc>
              <a:spcBef>
                <a:spcPts val="0"/>
              </a:spcBef>
              <a:buClrTx/>
              <a:buSzPct val="100000"/>
              <a:buBlip>
                <a:blip r:embed="rId4"/>
              </a:buBlip>
              <a:defRPr/>
            </a:pPr>
            <a:r>
              <a:rPr lang="en-US" sz="1400" dirty="0">
                <a:latin typeface="Gill Sans"/>
                <a:ea typeface="Verdana"/>
                <a:cs typeface="Gill Sans" charset="0"/>
              </a:rPr>
              <a:t>Fitness Training and Assessments</a:t>
            </a:r>
          </a:p>
          <a:p>
            <a:pPr lvl="1">
              <a:lnSpc>
                <a:spcPct val="120000"/>
              </a:lnSpc>
              <a:spcBef>
                <a:spcPts val="0"/>
              </a:spcBef>
              <a:buClr>
                <a:srgbClr val="D73F09"/>
              </a:buClr>
              <a:buSzPct val="100000"/>
              <a:buFont typeface="Arial" panose="020B0604020202020204" pitchFamily="34" charset="0"/>
              <a:buChar char="•"/>
              <a:defRPr/>
            </a:pPr>
            <a:r>
              <a:rPr lang="en-US" sz="1400" dirty="0">
                <a:latin typeface="Gill Sans"/>
                <a:ea typeface="Verdana"/>
              </a:rPr>
              <a:t>Small Group Training </a:t>
            </a:r>
          </a:p>
          <a:p>
            <a:pPr lvl="2">
              <a:lnSpc>
                <a:spcPct val="120000"/>
              </a:lnSpc>
              <a:spcBef>
                <a:spcPts val="0"/>
              </a:spcBef>
              <a:buClr>
                <a:srgbClr val="D73F09"/>
              </a:buClr>
              <a:buSzPct val="100000"/>
              <a:buFont typeface="Arial" panose="020B0604020202020204" pitchFamily="34" charset="0"/>
              <a:buChar char="•"/>
              <a:defRPr/>
            </a:pPr>
            <a:r>
              <a:rPr lang="en-US" sz="1400" dirty="0">
                <a:latin typeface="Gill Sans"/>
                <a:ea typeface="Verdana"/>
              </a:rPr>
              <a:t>DAM Fit (HIIT), Olympic Lifting, Kickboxing, Functional Training</a:t>
            </a:r>
          </a:p>
          <a:p>
            <a:pPr lvl="2">
              <a:lnSpc>
                <a:spcPct val="120000"/>
              </a:lnSpc>
              <a:spcBef>
                <a:spcPts val="0"/>
              </a:spcBef>
              <a:buClr>
                <a:srgbClr val="D73F09"/>
              </a:buClr>
              <a:buSzPct val="100000"/>
              <a:buFont typeface="Arial" panose="020B0604020202020204" pitchFamily="34" charset="0"/>
              <a:buChar char="•"/>
              <a:defRPr/>
            </a:pPr>
            <a:r>
              <a:rPr lang="en-US" sz="1400" dirty="0">
                <a:latin typeface="Gill Sans"/>
                <a:ea typeface="Verdana"/>
              </a:rPr>
              <a:t>Wellness Coaching &amp; Fitness Friends </a:t>
            </a:r>
          </a:p>
          <a:p>
            <a:pPr marL="914400" lvl="2" indent="0">
              <a:lnSpc>
                <a:spcPct val="120000"/>
              </a:lnSpc>
              <a:spcBef>
                <a:spcPts val="0"/>
              </a:spcBef>
              <a:buClrTx/>
              <a:buSzPct val="100000"/>
              <a:buNone/>
              <a:defRPr/>
            </a:pPr>
            <a:endParaRPr lang="en-US" sz="1400" dirty="0">
              <a:latin typeface="Gill Sans"/>
              <a:ea typeface="Verdana"/>
            </a:endParaRPr>
          </a:p>
          <a:p>
            <a:pPr marL="285115" indent="-285115">
              <a:lnSpc>
                <a:spcPct val="120000"/>
              </a:lnSpc>
              <a:spcBef>
                <a:spcPts val="0"/>
              </a:spcBef>
              <a:buClrTx/>
              <a:buSzPct val="100000"/>
              <a:buBlip>
                <a:blip r:embed="rId4"/>
              </a:buBlip>
              <a:defRPr/>
            </a:pPr>
            <a:r>
              <a:rPr lang="en-US" sz="1400" dirty="0">
                <a:latin typeface="Gill Sans"/>
                <a:ea typeface="Verdana"/>
              </a:rPr>
              <a:t>Aquatics</a:t>
            </a:r>
          </a:p>
          <a:p>
            <a:pPr lvl="1">
              <a:lnSpc>
                <a:spcPct val="120000"/>
              </a:lnSpc>
              <a:spcBef>
                <a:spcPts val="0"/>
              </a:spcBef>
              <a:buClr>
                <a:srgbClr val="D73F09"/>
              </a:buClr>
              <a:buSzPct val="100000"/>
              <a:buFont typeface="Arial" panose="020B0604020202020204" pitchFamily="34" charset="0"/>
              <a:buChar char="•"/>
              <a:defRPr/>
            </a:pPr>
            <a:r>
              <a:rPr lang="en-US" sz="1400" dirty="0">
                <a:latin typeface="Gill Sans"/>
                <a:ea typeface="Verdana"/>
              </a:rPr>
              <a:t>Adult Swim Lessons &amp; Clinics </a:t>
            </a:r>
          </a:p>
          <a:p>
            <a:pPr lvl="1">
              <a:lnSpc>
                <a:spcPct val="120000"/>
              </a:lnSpc>
              <a:spcBef>
                <a:spcPts val="0"/>
              </a:spcBef>
              <a:buClr>
                <a:srgbClr val="D73F09"/>
              </a:buClr>
              <a:buSzPct val="100000"/>
              <a:buFont typeface="Arial" panose="020B0604020202020204" pitchFamily="34" charset="0"/>
              <a:buChar char="•"/>
              <a:defRPr/>
            </a:pPr>
            <a:r>
              <a:rPr lang="en-US" sz="1400" dirty="0">
                <a:latin typeface="Gill Sans"/>
                <a:ea typeface="Verdana"/>
              </a:rPr>
              <a:t>Child Swim Lessons (For Rec Sports Members)</a:t>
            </a:r>
          </a:p>
          <a:p>
            <a:pPr marL="457200" lvl="1" indent="0">
              <a:lnSpc>
                <a:spcPct val="120000"/>
              </a:lnSpc>
              <a:spcBef>
                <a:spcPts val="0"/>
              </a:spcBef>
              <a:buClrTx/>
              <a:buSzPct val="100000"/>
              <a:buNone/>
              <a:defRPr/>
            </a:pPr>
            <a:endParaRPr lang="en-US" sz="1400" dirty="0">
              <a:latin typeface="Gill Sans"/>
              <a:ea typeface="Verdana"/>
            </a:endParaRPr>
          </a:p>
          <a:p>
            <a:pPr marL="285115" indent="-285115">
              <a:lnSpc>
                <a:spcPct val="120000"/>
              </a:lnSpc>
              <a:spcBef>
                <a:spcPts val="0"/>
              </a:spcBef>
              <a:buClrTx/>
              <a:buSzPct val="100000"/>
              <a:buBlip>
                <a:blip r:embed="rId4"/>
              </a:buBlip>
              <a:defRPr/>
            </a:pPr>
            <a:r>
              <a:rPr lang="en-US" sz="1400" dirty="0">
                <a:latin typeface="Gill Sans"/>
                <a:ea typeface="Verdana"/>
              </a:rPr>
              <a:t>Adventure Leadership Institute </a:t>
            </a:r>
          </a:p>
          <a:p>
            <a:pPr lvl="1">
              <a:lnSpc>
                <a:spcPct val="120000"/>
              </a:lnSpc>
              <a:spcBef>
                <a:spcPts val="0"/>
              </a:spcBef>
              <a:buClr>
                <a:srgbClr val="D73F09"/>
              </a:buClr>
              <a:buSzPct val="100000"/>
              <a:buFont typeface="Arial" panose="020B0604020202020204" pitchFamily="34" charset="0"/>
              <a:buChar char="•"/>
              <a:defRPr/>
            </a:pPr>
            <a:r>
              <a:rPr lang="en-US" sz="1400" dirty="0">
                <a:latin typeface="Gill Sans"/>
                <a:ea typeface="Verdana"/>
              </a:rPr>
              <a:t>Adventure Trips</a:t>
            </a:r>
          </a:p>
          <a:p>
            <a:pPr lvl="1">
              <a:lnSpc>
                <a:spcPct val="120000"/>
              </a:lnSpc>
              <a:spcBef>
                <a:spcPts val="0"/>
              </a:spcBef>
              <a:buClr>
                <a:srgbClr val="D73F09"/>
              </a:buClr>
              <a:buSzPct val="100000"/>
              <a:buFont typeface="Arial" panose="020B0604020202020204" pitchFamily="34" charset="0"/>
              <a:buChar char="•"/>
              <a:defRPr/>
            </a:pPr>
            <a:r>
              <a:rPr lang="en-US" sz="1400" dirty="0">
                <a:latin typeface="Gill Sans"/>
                <a:ea typeface="Verdana"/>
              </a:rPr>
              <a:t>Climbing Events </a:t>
            </a:r>
          </a:p>
          <a:p>
            <a:pPr lvl="1">
              <a:lnSpc>
                <a:spcPct val="120000"/>
              </a:lnSpc>
              <a:spcBef>
                <a:spcPts val="0"/>
              </a:spcBef>
              <a:buClr>
                <a:srgbClr val="D73F09"/>
              </a:buClr>
              <a:buSzPct val="100000"/>
              <a:buFont typeface="Arial" panose="020B0604020202020204" pitchFamily="34" charset="0"/>
              <a:buChar char="•"/>
              <a:defRPr/>
            </a:pPr>
            <a:r>
              <a:rPr lang="en-US" sz="1400" dirty="0">
                <a:latin typeface="Gill Sans"/>
                <a:ea typeface="Verdana"/>
              </a:rPr>
              <a:t>Discounted Outdoor Gear Rental </a:t>
            </a:r>
          </a:p>
        </p:txBody>
      </p:sp>
      <p:sp>
        <p:nvSpPr>
          <p:cNvPr id="9" name="Content Placeholder 2">
            <a:extLst>
              <a:ext uri="{FF2B5EF4-FFF2-40B4-BE49-F238E27FC236}">
                <a16:creationId xmlns:a16="http://schemas.microsoft.com/office/drawing/2014/main" id="{0CB4D1A1-B15F-09B4-BF44-417C3DA33BAE}"/>
              </a:ext>
            </a:extLst>
          </p:cNvPr>
          <p:cNvSpPr txBox="1">
            <a:spLocks/>
          </p:cNvSpPr>
          <p:nvPr/>
        </p:nvSpPr>
        <p:spPr>
          <a:xfrm>
            <a:off x="461895" y="5335374"/>
            <a:ext cx="5217694" cy="101056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buClrTx/>
              <a:buSzPct val="100000"/>
              <a:buNone/>
              <a:defRPr/>
            </a:pPr>
            <a:r>
              <a:rPr lang="en-US" sz="1600" b="1" dirty="0">
                <a:latin typeface="Gill Sans"/>
                <a:ea typeface="Verdana"/>
              </a:rPr>
              <a:t>OSU Faculty and Staff Membership Options: 1-month, Term, 9-month, Annual </a:t>
            </a:r>
            <a:endParaRPr lang="en-US" sz="1600" b="1" dirty="0">
              <a:latin typeface="Gill Sans"/>
            </a:endParaRPr>
          </a:p>
          <a:p>
            <a:pPr marL="0" indent="0">
              <a:lnSpc>
                <a:spcPct val="100000"/>
              </a:lnSpc>
              <a:spcBef>
                <a:spcPts val="1200"/>
              </a:spcBef>
              <a:buClrTx/>
              <a:buNone/>
              <a:defRPr/>
            </a:pPr>
            <a:r>
              <a:rPr lang="en-US" sz="1600" b="1" dirty="0">
                <a:latin typeface="Gill Sans"/>
                <a:ea typeface="Verdana"/>
                <a:cs typeface="Gill Sans" charset="0"/>
              </a:rPr>
              <a:t>Spouse and Partner Membership: 1-month, Term, 9-month, Annual </a:t>
            </a:r>
          </a:p>
          <a:p>
            <a:pPr marL="0" indent="0">
              <a:lnSpc>
                <a:spcPct val="100000"/>
              </a:lnSpc>
              <a:spcBef>
                <a:spcPts val="1200"/>
              </a:spcBef>
              <a:buClrTx/>
              <a:buNone/>
              <a:defRPr/>
            </a:pPr>
            <a:endParaRPr lang="en-US" sz="1800" dirty="0">
              <a:latin typeface="Kievit Offc"/>
              <a:ea typeface="Gill Sans" charset="0"/>
              <a:cs typeface="Gill Sans" charset="0"/>
            </a:endParaRPr>
          </a:p>
        </p:txBody>
      </p:sp>
      <p:sp>
        <p:nvSpPr>
          <p:cNvPr id="11" name="Content Placeholder 2">
            <a:extLst>
              <a:ext uri="{FF2B5EF4-FFF2-40B4-BE49-F238E27FC236}">
                <a16:creationId xmlns:a16="http://schemas.microsoft.com/office/drawing/2014/main" id="{F0CA16EC-A70D-C672-CD6A-D284B729A539}"/>
              </a:ext>
            </a:extLst>
          </p:cNvPr>
          <p:cNvSpPr txBox="1">
            <a:spLocks/>
          </p:cNvSpPr>
          <p:nvPr/>
        </p:nvSpPr>
        <p:spPr>
          <a:xfrm>
            <a:off x="9798541" y="4263899"/>
            <a:ext cx="1938041" cy="66270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ts val="1200"/>
              </a:spcBef>
              <a:buClrTx/>
              <a:buSzPct val="100000"/>
              <a:buNone/>
              <a:defRPr/>
            </a:pPr>
            <a:r>
              <a:rPr lang="en-US" sz="1600" b="1" dirty="0">
                <a:solidFill>
                  <a:srgbClr val="D73F09"/>
                </a:solidFill>
                <a:latin typeface="Gill Sans"/>
                <a:ea typeface="Verdana"/>
              </a:rPr>
              <a:t>Sign up here if you are interested!</a:t>
            </a:r>
            <a:endParaRPr lang="en-US" sz="1600" b="1" dirty="0">
              <a:solidFill>
                <a:srgbClr val="D73F09"/>
              </a:solidFill>
              <a:latin typeface="Gill Sans"/>
              <a:cs typeface="Gill Sans" charset="0"/>
            </a:endParaRPr>
          </a:p>
          <a:p>
            <a:pPr marL="0" indent="0" algn="r">
              <a:lnSpc>
                <a:spcPct val="100000"/>
              </a:lnSpc>
              <a:spcBef>
                <a:spcPts val="1200"/>
              </a:spcBef>
              <a:buClrTx/>
              <a:buNone/>
              <a:defRPr/>
            </a:pPr>
            <a:endParaRPr lang="en-US" sz="1600" dirty="0">
              <a:solidFill>
                <a:srgbClr val="E8580A"/>
              </a:solidFill>
              <a:latin typeface="Kievit Offc"/>
              <a:ea typeface="Gill Sans" charset="0"/>
              <a:cs typeface="Gill Sans" charset="0"/>
            </a:endParaRPr>
          </a:p>
        </p:txBody>
      </p:sp>
      <p:pic>
        <p:nvPicPr>
          <p:cNvPr id="7" name="Graphic 6" descr="Sports Field outline">
            <a:extLst>
              <a:ext uri="{FF2B5EF4-FFF2-40B4-BE49-F238E27FC236}">
                <a16:creationId xmlns:a16="http://schemas.microsoft.com/office/drawing/2014/main" id="{A0462655-F36C-4372-55CF-6694A36151AA}"/>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97491" y="623752"/>
            <a:ext cx="561631" cy="561631"/>
          </a:xfrm>
          <a:prstGeom prst="rect">
            <a:avLst/>
          </a:prstGeom>
        </p:spPr>
      </p:pic>
    </p:spTree>
    <p:extLst>
      <p:ext uri="{BB962C8B-B14F-4D97-AF65-F5344CB8AC3E}">
        <p14:creationId xmlns:p14="http://schemas.microsoft.com/office/powerpoint/2010/main" val="19453334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7A0F4-2D48-80AF-AE51-559A09F29A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D89955-E106-844D-6E9C-0278E8C48E70}"/>
              </a:ext>
            </a:extLst>
          </p:cNvPr>
          <p:cNvSpPr>
            <a:spLocks noGrp="1"/>
          </p:cNvSpPr>
          <p:nvPr>
            <p:ph type="title"/>
          </p:nvPr>
        </p:nvSpPr>
        <p:spPr/>
        <p:txBody>
          <a:bodyPr>
            <a:noAutofit/>
          </a:bodyPr>
          <a:lstStyle/>
          <a:p>
            <a:r>
              <a:rPr lang="en-US" sz="3000" dirty="0"/>
              <a:t>Benefits Triple Process</a:t>
            </a:r>
          </a:p>
        </p:txBody>
      </p:sp>
      <p:sp>
        <p:nvSpPr>
          <p:cNvPr id="4" name="Content Placeholder 2">
            <a:extLst>
              <a:ext uri="{FF2B5EF4-FFF2-40B4-BE49-F238E27FC236}">
                <a16:creationId xmlns:a16="http://schemas.microsoft.com/office/drawing/2014/main" id="{8481EC96-7EE5-7239-F76B-55D6DDF746B8}"/>
              </a:ext>
            </a:extLst>
          </p:cNvPr>
          <p:cNvSpPr txBox="1">
            <a:spLocks/>
          </p:cNvSpPr>
          <p:nvPr/>
        </p:nvSpPr>
        <p:spPr>
          <a:xfrm>
            <a:off x="1289407" y="1562686"/>
            <a:ext cx="10157782" cy="4755818"/>
          </a:xfrm>
          <a:prstGeom prst="rect">
            <a:avLst/>
          </a:prstGeom>
        </p:spPr>
        <p:txBody>
          <a:bodyPr vert="horz" lIns="91440" tIns="45720" rIns="91440" bIns="45720" rtlCol="0" anchor="t">
            <a:normAutofit fontScale="85000" lnSpcReduction="10000"/>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marR="0" lvl="0" indent="-285115" algn="l" defTabSz="914400" rtl="0" eaLnBrk="1" fontAlgn="auto" latinLnBrk="0" hangingPunct="1">
              <a:lnSpc>
                <a:spcPct val="100000"/>
              </a:lnSpc>
              <a:spcBef>
                <a:spcPts val="1200"/>
              </a:spcBef>
              <a:spcAft>
                <a:spcPts val="0"/>
              </a:spcAft>
              <a:buClrTx/>
              <a:buSzPct val="100000"/>
              <a:buFont typeface="Courier New" panose="02070309020205020404" pitchFamily="49" charset="0"/>
              <a:buBlip>
                <a:blip r:embed="rId3"/>
              </a:buBlip>
              <a:tabLst/>
              <a:defRPr/>
            </a:pPr>
            <a:r>
              <a:rPr kumimoji="0" lang="en-US" sz="1900" b="0" i="0" u="none" strike="noStrike" kern="1200" cap="none" spc="0" normalizeH="0" baseline="0" noProof="0" dirty="0">
                <a:ln>
                  <a:noFill/>
                </a:ln>
                <a:solidFill>
                  <a:prstClr val="black"/>
                </a:solidFill>
                <a:effectLst/>
                <a:uLnTx/>
                <a:uFillTx/>
                <a:latin typeface="Gill Sans"/>
                <a:ea typeface="Verdana"/>
                <a:cs typeface="Arial"/>
              </a:rPr>
              <a:t>Summer insurance coverage is provided to PEBB eligible employees in qualifying positions.  Summer insurance is provided to academic year ACA eligible employees who are not ending employment on June 15th.</a:t>
            </a:r>
          </a:p>
          <a:p>
            <a:pPr marL="0" marR="0" lvl="0" indent="0" algn="l" defTabSz="914400" rtl="0" eaLnBrk="1" fontAlgn="auto" latinLnBrk="0" hangingPunct="1">
              <a:lnSpc>
                <a:spcPct val="100000"/>
              </a:lnSpc>
              <a:spcBef>
                <a:spcPts val="1200"/>
              </a:spcBef>
              <a:spcAft>
                <a:spcPts val="0"/>
              </a:spcAft>
              <a:buClrTx/>
              <a:buSzPct val="100000"/>
              <a:buFont typeface="Courier New" panose="02070309020205020404" pitchFamily="49" charset="0"/>
              <a:buNone/>
              <a:tabLst/>
              <a:defRPr/>
            </a:pPr>
            <a:endParaRPr kumimoji="0" lang="en-US" sz="1900" b="0" i="0" u="none" strike="noStrike" kern="1200" cap="none" spc="0" normalizeH="0" baseline="0" noProof="0" dirty="0">
              <a:ln>
                <a:noFill/>
              </a:ln>
              <a:solidFill>
                <a:prstClr val="black"/>
              </a:solidFill>
              <a:effectLst/>
              <a:uLnTx/>
              <a:uFillTx/>
              <a:latin typeface="Gill Sans"/>
              <a:ea typeface="Verdana"/>
              <a:cs typeface="Arial"/>
            </a:endParaRPr>
          </a:p>
          <a:p>
            <a:pPr marL="285115" marR="0" lvl="0" indent="-285115" algn="l" defTabSz="914400" rtl="0" eaLnBrk="1" fontAlgn="auto" latinLnBrk="0" hangingPunct="1">
              <a:lnSpc>
                <a:spcPct val="100000"/>
              </a:lnSpc>
              <a:spcBef>
                <a:spcPts val="1200"/>
              </a:spcBef>
              <a:spcAft>
                <a:spcPts val="0"/>
              </a:spcAft>
              <a:buClrTx/>
              <a:buSzPct val="100000"/>
              <a:buFont typeface="Courier New" panose="02070309020205020404" pitchFamily="49" charset="0"/>
              <a:buBlip>
                <a:blip r:embed="rId3"/>
              </a:buBlip>
              <a:tabLst/>
              <a:defRPr/>
            </a:pPr>
            <a:r>
              <a:rPr kumimoji="0" lang="en-US" sz="1900" b="0" i="0" u="none" strike="noStrike" kern="1200" cap="none" spc="0" normalizeH="0" baseline="0" noProof="0" dirty="0">
                <a:ln>
                  <a:noFill/>
                </a:ln>
                <a:solidFill>
                  <a:prstClr val="black"/>
                </a:solidFill>
                <a:effectLst/>
                <a:uLnTx/>
                <a:uFillTx/>
                <a:latin typeface="Gill Sans"/>
                <a:ea typeface="Verdana"/>
              </a:rPr>
              <a:t>For more information about the process and key details, please see this link: </a:t>
            </a:r>
            <a:r>
              <a:rPr kumimoji="0" lang="en-US" sz="1900" b="0" i="0" u="none" strike="noStrike" kern="1200" cap="none" spc="0" normalizeH="0" baseline="0" noProof="0" dirty="0">
                <a:ln>
                  <a:noFill/>
                </a:ln>
                <a:solidFill>
                  <a:srgbClr val="00859B"/>
                </a:solidFill>
                <a:effectLst/>
                <a:uLnTx/>
                <a:uFillTx/>
                <a:latin typeface="Gill Sans"/>
                <a:ea typeface="+mn-lt"/>
                <a:cs typeface="+mn-lt"/>
                <a:hlinkClick r:id="rId4">
                  <a:extLst>
                    <a:ext uri="{A12FA001-AC4F-418D-AE19-62706E023703}">
                      <ahyp:hlinkClr xmlns:ahyp="http://schemas.microsoft.com/office/drawing/2018/hyperlinkcolor" val="tx"/>
                    </a:ext>
                  </a:extLst>
                </a:hlinkClick>
              </a:rPr>
              <a:t>PEBB Summer Insurance Process | Office of University Human Resources | Oregon State University</a:t>
            </a:r>
            <a:endParaRPr kumimoji="0" lang="en-US" sz="1900" b="0" i="0" u="none" strike="noStrike" kern="1200" cap="none" spc="0" normalizeH="0" baseline="0" noProof="0" dirty="0">
              <a:ln>
                <a:noFill/>
              </a:ln>
              <a:solidFill>
                <a:srgbClr val="00859B"/>
              </a:solidFill>
              <a:effectLst/>
              <a:uLnTx/>
              <a:uFillTx/>
              <a:latin typeface="Gill Sans"/>
              <a:ea typeface="+mn-lt"/>
              <a:cs typeface="+mn-lt"/>
            </a:endParaRPr>
          </a:p>
          <a:p>
            <a:pPr marL="0" marR="0" lvl="0" indent="0" algn="l" defTabSz="914400" rtl="0" eaLnBrk="1" fontAlgn="auto" latinLnBrk="0" hangingPunct="1">
              <a:lnSpc>
                <a:spcPct val="100000"/>
              </a:lnSpc>
              <a:spcBef>
                <a:spcPts val="1200"/>
              </a:spcBef>
              <a:spcAft>
                <a:spcPts val="0"/>
              </a:spcAft>
              <a:buClrTx/>
              <a:buSzPct val="100000"/>
              <a:buFont typeface="Courier New" panose="02070309020205020404" pitchFamily="49" charset="0"/>
              <a:buNone/>
              <a:tabLst/>
              <a:defRPr/>
            </a:pPr>
            <a:endParaRPr kumimoji="0" lang="en-US" sz="1900" b="0" i="0" u="none" strike="noStrike" kern="1200" cap="none" spc="0" normalizeH="0" baseline="0" noProof="0" dirty="0">
              <a:ln>
                <a:noFill/>
              </a:ln>
              <a:solidFill>
                <a:srgbClr val="00859B"/>
              </a:solidFill>
              <a:effectLst/>
              <a:uLnTx/>
              <a:uFillTx/>
              <a:latin typeface="Gill Sans"/>
              <a:ea typeface="+mn-lt"/>
              <a:cs typeface="+mn-lt"/>
            </a:endParaRPr>
          </a:p>
          <a:p>
            <a:pPr marL="285115" marR="0" lvl="0" indent="-285115" algn="l" defTabSz="914400" rtl="0" eaLnBrk="1" fontAlgn="auto" latinLnBrk="0" hangingPunct="1">
              <a:lnSpc>
                <a:spcPct val="100000"/>
              </a:lnSpc>
              <a:spcBef>
                <a:spcPts val="1200"/>
              </a:spcBef>
              <a:spcAft>
                <a:spcPts val="0"/>
              </a:spcAft>
              <a:buClrTx/>
              <a:buSzPct val="100000"/>
              <a:buFont typeface="Courier New" panose="02070309020205020404" pitchFamily="49" charset="0"/>
              <a:buBlip>
                <a:blip r:embed="rId3"/>
              </a:buBlip>
              <a:tabLst/>
              <a:defRPr/>
            </a:pPr>
            <a:r>
              <a:rPr kumimoji="0" lang="en-US" sz="1900" b="0" i="0" u="none" strike="noStrike" kern="1200" cap="none" spc="0" normalizeH="0" baseline="0" noProof="0" dirty="0">
                <a:ln>
                  <a:noFill/>
                </a:ln>
                <a:solidFill>
                  <a:prstClr val="black"/>
                </a:solidFill>
                <a:effectLst/>
                <a:uLnTx/>
                <a:uFillTx/>
                <a:latin typeface="Gill Sans"/>
                <a:ea typeface="Verdana" panose="020B0604030504040204" pitchFamily="34" charset="0"/>
              </a:rPr>
              <a:t>To pay for PEBB summer insurance coverage, benefit premiums are "triple deducted" in May.  This includes OSU’s contribution toward the core premium cost (medical, dental, basic vision, basic life), as well as the employee’s share of premiums (exceptions:  FSA Contributions, Short Term and Long Term Disability premiums).</a:t>
            </a:r>
          </a:p>
          <a:p>
            <a:pPr marL="0" marR="0" lvl="0" indent="0" algn="l" defTabSz="914400" rtl="0" eaLnBrk="1" fontAlgn="auto" latinLnBrk="0" hangingPunct="1">
              <a:lnSpc>
                <a:spcPct val="100000"/>
              </a:lnSpc>
              <a:spcBef>
                <a:spcPts val="1200"/>
              </a:spcBef>
              <a:spcAft>
                <a:spcPts val="0"/>
              </a:spcAft>
              <a:buClrTx/>
              <a:buSzPct val="100000"/>
              <a:buFont typeface="Courier New" panose="02070309020205020404" pitchFamily="49" charset="0"/>
              <a:buNone/>
              <a:tabLst/>
              <a:defRPr/>
            </a:pPr>
            <a:endParaRPr kumimoji="0" lang="en-US" sz="1900" b="0" i="0" u="none" strike="noStrike" kern="1200" cap="none" spc="0" normalizeH="0" baseline="0" noProof="0" dirty="0">
              <a:ln>
                <a:noFill/>
              </a:ln>
              <a:solidFill>
                <a:prstClr val="black"/>
              </a:solidFill>
              <a:effectLst/>
              <a:uLnTx/>
              <a:uFillTx/>
              <a:latin typeface="Gill Sans"/>
              <a:ea typeface="Verdana" panose="020B0604030504040204" pitchFamily="34" charset="0"/>
            </a:endParaRPr>
          </a:p>
          <a:p>
            <a:pPr marL="285115" marR="0" lvl="0" indent="-285115" algn="l" defTabSz="914400" rtl="0" eaLnBrk="1" fontAlgn="auto" latinLnBrk="0" hangingPunct="1">
              <a:lnSpc>
                <a:spcPct val="100000"/>
              </a:lnSpc>
              <a:spcBef>
                <a:spcPts val="1200"/>
              </a:spcBef>
              <a:spcAft>
                <a:spcPts val="0"/>
              </a:spcAft>
              <a:buClrTx/>
              <a:buSzPct val="100000"/>
              <a:buFont typeface="Courier New" panose="02070309020205020404" pitchFamily="49" charset="0"/>
              <a:buBlip>
                <a:blip r:embed="rId3"/>
              </a:buBlip>
              <a:tabLst/>
              <a:defRPr/>
            </a:pPr>
            <a:r>
              <a:rPr kumimoji="0" lang="en-US" sz="1900" b="0" i="0" u="none" strike="noStrike" kern="1200" cap="none" spc="0" normalizeH="0" baseline="0" noProof="0" dirty="0">
                <a:ln>
                  <a:noFill/>
                </a:ln>
                <a:solidFill>
                  <a:prstClr val="black"/>
                </a:solidFill>
                <a:effectLst/>
                <a:uLnTx/>
                <a:uFillTx/>
                <a:latin typeface="Gill Sans"/>
                <a:ea typeface="Verdana"/>
              </a:rPr>
              <a:t>The May Payroll is used for the tripling process since it is typically the last full check before summer.  The June checks are usually partial checks.  Sometimes triples can happen in June if the employee is missed in May </a:t>
            </a:r>
          </a:p>
          <a:p>
            <a:pPr marL="0" marR="0" lvl="0" indent="0" algn="l" defTabSz="914400" rtl="0" eaLnBrk="1" fontAlgn="auto" latinLnBrk="0" hangingPunct="1">
              <a:lnSpc>
                <a:spcPct val="100000"/>
              </a:lnSpc>
              <a:spcBef>
                <a:spcPts val="1200"/>
              </a:spcBef>
              <a:spcAft>
                <a:spcPts val="0"/>
              </a:spcAft>
              <a:buClrTx/>
              <a:buSzPct val="100000"/>
              <a:buFont typeface="Courier New" panose="02070309020205020404" pitchFamily="49" charset="0"/>
              <a:buNone/>
              <a:tabLst/>
              <a:defRPr/>
            </a:pPr>
            <a:endParaRPr kumimoji="0" lang="en-US" sz="1900" b="0" i="0" u="none" strike="noStrike" kern="1200" cap="none" spc="0" normalizeH="0" baseline="0" noProof="0" dirty="0">
              <a:ln>
                <a:noFill/>
              </a:ln>
              <a:solidFill>
                <a:prstClr val="black"/>
              </a:solidFill>
              <a:effectLst/>
              <a:uLnTx/>
              <a:uFillTx/>
              <a:latin typeface="Gill Sans"/>
              <a:ea typeface="Verdana"/>
            </a:endParaRPr>
          </a:p>
          <a:p>
            <a:pPr marL="285115" marR="0" lvl="0" indent="-285115" algn="l" defTabSz="914400" rtl="0" eaLnBrk="1" fontAlgn="auto" latinLnBrk="0" hangingPunct="1">
              <a:lnSpc>
                <a:spcPct val="100000"/>
              </a:lnSpc>
              <a:spcBef>
                <a:spcPts val="1200"/>
              </a:spcBef>
              <a:spcAft>
                <a:spcPts val="0"/>
              </a:spcAft>
              <a:buClrTx/>
              <a:buSzPct val="100000"/>
              <a:buFont typeface="Courier New" panose="02070309020205020404" pitchFamily="49" charset="0"/>
              <a:buBlip>
                <a:blip r:embed="rId3"/>
              </a:buBlip>
              <a:tabLst/>
              <a:defRPr/>
            </a:pPr>
            <a:r>
              <a:rPr kumimoji="0" lang="en-US" sz="1900" b="0" i="0" u="none" strike="noStrike" kern="1200" cap="none" spc="0" normalizeH="0" baseline="0" noProof="0" dirty="0">
                <a:ln>
                  <a:noFill/>
                </a:ln>
                <a:solidFill>
                  <a:prstClr val="black"/>
                </a:solidFill>
                <a:effectLst/>
                <a:uLnTx/>
                <a:uFillTx/>
                <a:latin typeface="Gill Sans"/>
                <a:ea typeface="Verdana"/>
              </a:rPr>
              <a:t>The triple process is </a:t>
            </a:r>
            <a:r>
              <a:rPr kumimoji="0" lang="en-US" sz="1900" b="0" i="1" u="none" strike="noStrike" kern="1200" cap="none" spc="0" normalizeH="0" baseline="0" noProof="0" dirty="0">
                <a:ln>
                  <a:noFill/>
                </a:ln>
                <a:solidFill>
                  <a:prstClr val="black"/>
                </a:solidFill>
                <a:effectLst/>
                <a:uLnTx/>
                <a:uFillTx/>
                <a:latin typeface="Gill Sans"/>
                <a:ea typeface="Verdana"/>
              </a:rPr>
              <a:t>not</a:t>
            </a:r>
            <a:r>
              <a:rPr kumimoji="0" lang="en-US" sz="1900" b="0" i="0" u="none" strike="noStrike" kern="1200" cap="none" spc="0" normalizeH="0" baseline="0" noProof="0" dirty="0">
                <a:ln>
                  <a:noFill/>
                </a:ln>
                <a:solidFill>
                  <a:prstClr val="black"/>
                </a:solidFill>
                <a:effectLst/>
                <a:uLnTx/>
                <a:uFillTx/>
                <a:latin typeface="Gill Sans"/>
                <a:ea typeface="Verdana"/>
              </a:rPr>
              <a:t> optional if the employee is enrolled for PEBB coverage and meets the triple requirements </a:t>
            </a:r>
          </a:p>
          <a:p>
            <a:pPr marL="0" marR="0" lvl="0" indent="0" algn="l" defTabSz="914400" rtl="0" eaLnBrk="1" fontAlgn="auto" latinLnBrk="0" hangingPunct="1">
              <a:lnSpc>
                <a:spcPct val="100000"/>
              </a:lnSpc>
              <a:spcBef>
                <a:spcPts val="1200"/>
              </a:spcBef>
              <a:spcAft>
                <a:spcPts val="0"/>
              </a:spcAft>
              <a:buClrTx/>
              <a:buSzPct val="100000"/>
              <a:buFont typeface="Courier New" panose="02070309020205020404" pitchFamily="49" charset="0"/>
              <a:buNone/>
              <a:tabLst/>
              <a:defRPr/>
            </a:pPr>
            <a:endPar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endParaRPr>
          </a:p>
        </p:txBody>
      </p:sp>
      <p:pic>
        <p:nvPicPr>
          <p:cNvPr id="6" name="Picture Placeholder 5" descr="Chevron arrows">
            <a:extLst>
              <a:ext uri="{FF2B5EF4-FFF2-40B4-BE49-F238E27FC236}">
                <a16:creationId xmlns:a16="http://schemas.microsoft.com/office/drawing/2014/main" id="{680F3D86-383D-436C-B5CA-5C9B81116D2A}"/>
              </a:ext>
            </a:extLst>
          </p:cNvPr>
          <p:cNvPicPr>
            <a:picLocks noGrp="1" noChangeAspect="1"/>
          </p:cNvPicPr>
          <p:nvPr>
            <p:ph type="pic" sz="quarter" idx="10"/>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rcRect t="157" b="157"/>
          <a:stretch>
            <a:fillRect/>
          </a:stretch>
        </p:blipFill>
        <p:spPr/>
      </p:pic>
    </p:spTree>
    <p:extLst>
      <p:ext uri="{BB962C8B-B14F-4D97-AF65-F5344CB8AC3E}">
        <p14:creationId xmlns:p14="http://schemas.microsoft.com/office/powerpoint/2010/main" val="2415786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461E7A-3FE7-4854-8CAA-D31F14E37922}"/>
              </a:ext>
            </a:extLst>
          </p:cNvPr>
          <p:cNvSpPr>
            <a:spLocks noGrp="1"/>
          </p:cNvSpPr>
          <p:nvPr>
            <p:ph type="title"/>
          </p:nvPr>
        </p:nvSpPr>
        <p:spPr/>
        <p:txBody>
          <a:bodyPr/>
          <a:lstStyle/>
          <a:p>
            <a:r>
              <a:rPr lang="en-US" dirty="0"/>
              <a:t>Process Deadline</a:t>
            </a:r>
          </a:p>
        </p:txBody>
      </p:sp>
      <p:pic>
        <p:nvPicPr>
          <p:cNvPr id="6" name="Picture Placeholder 5" descr="Chevron arrows">
            <a:extLst>
              <a:ext uri="{FF2B5EF4-FFF2-40B4-BE49-F238E27FC236}">
                <a16:creationId xmlns:a16="http://schemas.microsoft.com/office/drawing/2014/main" id="{372F38C8-B6C3-449A-8254-38042154BAE9}"/>
              </a:ext>
            </a:extLst>
          </p:cNvPr>
          <p:cNvPicPr>
            <a:picLocks noGrp="1" noChangeAspect="1"/>
          </p:cNvPicPr>
          <p:nvPr>
            <p:ph type="pic" sz="quarter" idx="10"/>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rcRect t="157" b="157"/>
          <a:stretch>
            <a:fillRect/>
          </a:stretch>
        </p:blipFill>
        <p:spPr/>
      </p:pic>
      <p:sp>
        <p:nvSpPr>
          <p:cNvPr id="4" name="Content Placeholder 3">
            <a:extLst>
              <a:ext uri="{FF2B5EF4-FFF2-40B4-BE49-F238E27FC236}">
                <a16:creationId xmlns:a16="http://schemas.microsoft.com/office/drawing/2014/main" id="{F8E6972C-36C3-4EEE-ABE8-3B3EF3FCCE9A}"/>
              </a:ext>
            </a:extLst>
          </p:cNvPr>
          <p:cNvSpPr>
            <a:spLocks noGrp="1"/>
          </p:cNvSpPr>
          <p:nvPr>
            <p:ph idx="1"/>
          </p:nvPr>
        </p:nvSpPr>
        <p:spPr>
          <a:xfrm>
            <a:off x="1273068" y="1417507"/>
            <a:ext cx="10367243" cy="5187820"/>
          </a:xfrm>
        </p:spPr>
        <p:txBody>
          <a:bodyPr vert="horz" lIns="91440" tIns="45720" rIns="91440" bIns="45720" rtlCol="0" anchor="t">
            <a:normAutofit/>
          </a:bodyPr>
          <a:lstStyle/>
          <a:p>
            <a:pPr marL="285115" indent="-285115" defTabSz="914400">
              <a:lnSpc>
                <a:spcPct val="100000"/>
              </a:lnSpc>
              <a:spcBef>
                <a:spcPts val="1200"/>
              </a:spcBef>
              <a:buClrTx/>
              <a:buSzPct val="100000"/>
              <a:buBlip>
                <a:blip r:embed="rId3"/>
              </a:buBlip>
              <a:defRPr/>
            </a:pPr>
            <a:r>
              <a:rPr lang="en-US" sz="1600" dirty="0">
                <a:ea typeface="Verdana"/>
              </a:rPr>
              <a:t>Instructors in PEBB-eligible positions during spring term who are not returning for fall term should notify HR Support Services through the Employee Service Portal (HRSD) utilizing the Offboarding request, or via e-mail at </a:t>
            </a:r>
            <a:r>
              <a:rPr lang="en-US" sz="1600" dirty="0">
                <a:solidFill>
                  <a:srgbClr val="00859B"/>
                </a:solidFill>
                <a:ea typeface="Verdana"/>
                <a:hlinkClick r:id="rId4">
                  <a:extLst>
                    <a:ext uri="{A12FA001-AC4F-418D-AE19-62706E023703}">
                      <ahyp:hlinkClr xmlns:ahyp="http://schemas.microsoft.com/office/drawing/2018/hyperlinkcolor" val="tx"/>
                    </a:ext>
                  </a:extLst>
                </a:hlinkClick>
              </a:rPr>
              <a:t>hrsupportservices@oregonstate.edu</a:t>
            </a:r>
            <a:r>
              <a:rPr lang="en-US" sz="1600" dirty="0">
                <a:solidFill>
                  <a:srgbClr val="00859B"/>
                </a:solidFill>
                <a:ea typeface="Verdana"/>
              </a:rPr>
              <a:t> </a:t>
            </a:r>
            <a:r>
              <a:rPr lang="en-US" sz="1600" dirty="0">
                <a:ea typeface="Verdana"/>
              </a:rPr>
              <a:t>to initiate the employment termination process.</a:t>
            </a:r>
          </a:p>
          <a:p>
            <a:pPr lvl="1" defTabSz="914400">
              <a:lnSpc>
                <a:spcPct val="100000"/>
              </a:lnSpc>
              <a:spcBef>
                <a:spcPts val="1200"/>
              </a:spcBef>
              <a:buClr>
                <a:srgbClr val="D73F09"/>
              </a:buClr>
              <a:buSzPct val="100000"/>
              <a:buFont typeface="Arial" panose="020B0604020202020204" pitchFamily="34" charset="0"/>
              <a:buChar char="•"/>
              <a:defRPr/>
            </a:pPr>
            <a:r>
              <a:rPr lang="en-US" sz="1600" b="1" dirty="0"/>
              <a:t>Employment terminations for instructors on term only contracts </a:t>
            </a:r>
            <a:r>
              <a:rPr lang="en-US" sz="1600" dirty="0"/>
              <a:t>processed by April 30th will result in employees not going through the summer triple process during May</a:t>
            </a:r>
          </a:p>
          <a:p>
            <a:pPr lvl="1" defTabSz="914400">
              <a:lnSpc>
                <a:spcPct val="100000"/>
              </a:lnSpc>
              <a:spcBef>
                <a:spcPts val="1200"/>
              </a:spcBef>
              <a:buClr>
                <a:srgbClr val="D73F09"/>
              </a:buClr>
              <a:buSzPct val="100000"/>
              <a:buFont typeface="Arial" panose="020B0604020202020204" pitchFamily="34" charset="0"/>
              <a:buChar char="•"/>
              <a:defRPr/>
            </a:pPr>
            <a:r>
              <a:rPr lang="en-US" sz="1600" b="1" dirty="0"/>
              <a:t>Employment terminations for instructors on term only contracts </a:t>
            </a:r>
            <a:r>
              <a:rPr lang="en-US" sz="1600" dirty="0"/>
              <a:t>processed between May 1st – June 15th will have any necessary corrections to PEBB premiums processed during June payroll by the Employee Benefits team</a:t>
            </a:r>
          </a:p>
          <a:p>
            <a:pPr lvl="1" defTabSz="914400">
              <a:lnSpc>
                <a:spcPct val="100000"/>
              </a:lnSpc>
              <a:spcBef>
                <a:spcPts val="1200"/>
              </a:spcBef>
              <a:buClr>
                <a:srgbClr val="D73F09"/>
              </a:buClr>
              <a:buSzPct val="100000"/>
              <a:buFont typeface="Arial" panose="020B0604020202020204" pitchFamily="34" charset="0"/>
              <a:buChar char="•"/>
              <a:defRPr/>
            </a:pPr>
            <a:r>
              <a:rPr lang="en-US" sz="1600" b="1" dirty="0"/>
              <a:t>Employment terminations for instructors on term only contracts </a:t>
            </a:r>
            <a:r>
              <a:rPr lang="en-US" sz="1600" dirty="0"/>
              <a:t>processed after June 15th will result in summer insurance for the instructor</a:t>
            </a:r>
          </a:p>
          <a:p>
            <a:pPr marL="685165" lvl="1" indent="-227965" defTabSz="914400">
              <a:lnSpc>
                <a:spcPct val="100000"/>
              </a:lnSpc>
              <a:spcBef>
                <a:spcPts val="1200"/>
              </a:spcBef>
              <a:buClr>
                <a:srgbClr val="D73F09"/>
              </a:buClr>
              <a:buSzPct val="100000"/>
              <a:buFont typeface="Arial" panose="020B0604020202020204" pitchFamily="34" charset="0"/>
              <a:buChar char="•"/>
              <a:defRPr/>
            </a:pPr>
            <a:r>
              <a:rPr lang="en-US" sz="1600" dirty="0">
                <a:ea typeface="Verdana"/>
              </a:rPr>
              <a:t>Program Details: </a:t>
            </a:r>
            <a:r>
              <a:rPr lang="en-US" sz="1600" dirty="0">
                <a:solidFill>
                  <a:srgbClr val="00859B"/>
                </a:solidFill>
                <a:ea typeface="Verdana"/>
                <a:hlinkClick r:id="rId5">
                  <a:extLst>
                    <a:ext uri="{A12FA001-AC4F-418D-AE19-62706E023703}">
                      <ahyp:hlinkClr xmlns:ahyp="http://schemas.microsoft.com/office/drawing/2018/hyperlinkcolor" val="tx"/>
                    </a:ext>
                  </a:extLst>
                </a:hlinkClick>
              </a:rPr>
              <a:t>PEBB Summer Insurance Process | Office of University Human Resources | Oregon State University</a:t>
            </a:r>
            <a:endParaRPr lang="en-US" sz="1600" dirty="0">
              <a:solidFill>
                <a:srgbClr val="00859B"/>
              </a:solidFill>
              <a:ea typeface="Verdana"/>
            </a:endParaRPr>
          </a:p>
          <a:p>
            <a:pPr marL="742304" lvl="1" indent="-285115" defTabSz="914400">
              <a:lnSpc>
                <a:spcPct val="100000"/>
              </a:lnSpc>
              <a:spcBef>
                <a:spcPts val="1200"/>
              </a:spcBef>
              <a:buClrTx/>
              <a:buSzPct val="100000"/>
              <a:buBlip>
                <a:blip r:embed="rId3"/>
              </a:buBlip>
              <a:defRPr/>
            </a:pPr>
            <a:endParaRPr lang="en-US" sz="1600" dirty="0">
              <a:solidFill>
                <a:srgbClr val="00859B"/>
              </a:solidFill>
            </a:endParaRPr>
          </a:p>
          <a:p>
            <a:pPr marL="285115" lvl="0" indent="-285115" defTabSz="914400">
              <a:lnSpc>
                <a:spcPct val="100000"/>
              </a:lnSpc>
              <a:spcBef>
                <a:spcPts val="1200"/>
              </a:spcBef>
              <a:buClrTx/>
              <a:buSzPct val="100000"/>
              <a:buBlip>
                <a:blip r:embed="rId3"/>
              </a:buBlip>
              <a:defRPr/>
            </a:pPr>
            <a:r>
              <a:rPr lang="en-US" sz="1600" dirty="0">
                <a:ea typeface="Verdana"/>
              </a:rPr>
              <a:t>All other academic year employees in PEBB-eligible positions during Spring term will go through the May triple process for summer coverage</a:t>
            </a:r>
          </a:p>
          <a:p>
            <a:endParaRPr lang="en-US" dirty="0"/>
          </a:p>
        </p:txBody>
      </p:sp>
    </p:spTree>
    <p:extLst>
      <p:ext uri="{BB962C8B-B14F-4D97-AF65-F5344CB8AC3E}">
        <p14:creationId xmlns:p14="http://schemas.microsoft.com/office/powerpoint/2010/main" val="1382688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njDQWr.5rdoCbklZaExf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2">
      <a:majorFont>
        <a:latin typeface="Verdana"/>
        <a:ea typeface=""/>
        <a:cs typeface=""/>
      </a:majorFont>
      <a:minorFont>
        <a:latin typeface="Gill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SU Slide Master">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heme1">
  <a:themeElements>
    <a:clrScheme name="Custom 8">
      <a:dk1>
        <a:srgbClr val="000000"/>
      </a:dk1>
      <a:lt1>
        <a:srgbClr val="FFFFFF"/>
      </a:lt1>
      <a:dk2>
        <a:srgbClr val="8E9089"/>
      </a:dk2>
      <a:lt2>
        <a:srgbClr val="B7A99A"/>
      </a:lt2>
      <a:accent1>
        <a:srgbClr val="D73F09"/>
      </a:accent1>
      <a:accent2>
        <a:srgbClr val="00859B"/>
      </a:accent2>
      <a:accent3>
        <a:srgbClr val="B8DDE1"/>
      </a:accent3>
      <a:accent4>
        <a:srgbClr val="D3832B"/>
      </a:accent4>
      <a:accent5>
        <a:srgbClr val="003B5C"/>
      </a:accent5>
      <a:accent6>
        <a:srgbClr val="0D5157"/>
      </a:accent6>
      <a:hlink>
        <a:srgbClr val="99B862"/>
      </a:hlink>
      <a:folHlink>
        <a:srgbClr val="7A685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lnSpc>
            <a:spcPct val="80000"/>
          </a:lnSpc>
          <a:defRPr sz="4800" b="1" dirty="0">
            <a:solidFill>
              <a:schemeClr val="tx1">
                <a:lumMod val="75000"/>
                <a:lumOff val="25000"/>
              </a:schemeClr>
            </a:solidFill>
            <a:latin typeface="Stratum2 Bold" panose="020B0506030000020004" pitchFamily="34" charset="77"/>
          </a:defRPr>
        </a:defPPr>
      </a:lstStyle>
    </a:txDef>
  </a:objectDefaults>
  <a:extraClrSchemeLst/>
  <a:extLst>
    <a:ext uri="{05A4C25C-085E-4340-85A3-A5531E510DB2}">
      <thm15:themeFamily xmlns:thm15="http://schemas.microsoft.com/office/thememl/2012/main" name="Theme1" id="{C70EC8A8-4E99-4673-B34C-502EDD443651}" vid="{6B360458-816A-4D60-B3F5-73DE8EB72371}"/>
    </a:ext>
  </a:extLst>
</a:theme>
</file>

<file path=ppt/theme/theme4.xml><?xml version="1.0" encoding="utf-8"?>
<a:theme xmlns:a="http://schemas.openxmlformats.org/drawingml/2006/main" name="Retrospect OSU">
  <a:themeElements>
    <a:clrScheme name="Custom 1">
      <a:dk1>
        <a:sysClr val="windowText" lastClr="000000"/>
      </a:dk1>
      <a:lt1>
        <a:sysClr val="window" lastClr="FFFFFF"/>
      </a:lt1>
      <a:dk2>
        <a:srgbClr val="8E9089"/>
      </a:dk2>
      <a:lt2>
        <a:srgbClr val="B7A99A"/>
      </a:lt2>
      <a:accent1>
        <a:srgbClr val="D73F09"/>
      </a:accent1>
      <a:accent2>
        <a:srgbClr val="00859B"/>
      </a:accent2>
      <a:accent3>
        <a:srgbClr val="B8DDE1"/>
      </a:accent3>
      <a:accent4>
        <a:srgbClr val="FFB500"/>
      </a:accent4>
      <a:accent5>
        <a:srgbClr val="FDD26E"/>
      </a:accent5>
      <a:accent6>
        <a:srgbClr val="4A773C"/>
      </a:accent6>
      <a:hlink>
        <a:srgbClr val="D73F09"/>
      </a:hlink>
      <a:folHlink>
        <a:srgbClr val="7A6855"/>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OSU" id="{202156B5-8F5D-46CE-83FE-24485D15362E}" vid="{401BA96A-F1F9-4885-87BE-4D3100ED7BB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3678</TotalTime>
  <Words>2840</Words>
  <Application>Microsoft Office PowerPoint</Application>
  <PresentationFormat>Widescreen</PresentationFormat>
  <Paragraphs>299</Paragraphs>
  <Slides>33</Slides>
  <Notes>16</Notes>
  <HiddenSlides>0</HiddenSlides>
  <MMClips>0</MMClips>
  <ScaleCrop>false</ScaleCrop>
  <HeadingPairs>
    <vt:vector size="8" baseType="variant">
      <vt:variant>
        <vt:lpstr>Fonts Used</vt:lpstr>
      </vt:variant>
      <vt:variant>
        <vt:i4>21</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59" baseType="lpstr">
      <vt:lpstr>Aptos</vt:lpstr>
      <vt:lpstr>Arial</vt:lpstr>
      <vt:lpstr>Calibri</vt:lpstr>
      <vt:lpstr>Calibri Light</vt:lpstr>
      <vt:lpstr>Chronicle Display Black</vt:lpstr>
      <vt:lpstr>Courier New</vt:lpstr>
      <vt:lpstr>Courier New,monospace</vt:lpstr>
      <vt:lpstr>Encode Sans Normal Black</vt:lpstr>
      <vt:lpstr>Gill Sans</vt:lpstr>
      <vt:lpstr>Kievit Offc</vt:lpstr>
      <vt:lpstr>Kievit Offc Medium</vt:lpstr>
      <vt:lpstr>Open Sans</vt:lpstr>
      <vt:lpstr>Open Sans Light</vt:lpstr>
      <vt:lpstr>Rufina-Stencil-Bold</vt:lpstr>
      <vt:lpstr>Stratum2 Black</vt:lpstr>
      <vt:lpstr>Stratum2 Bold</vt:lpstr>
      <vt:lpstr>Stratum2 Regular</vt:lpstr>
      <vt:lpstr>Times</vt:lpstr>
      <vt:lpstr>Verdana</vt:lpstr>
      <vt:lpstr>Wingdings</vt:lpstr>
      <vt:lpstr>Wingdings 2</vt:lpstr>
      <vt:lpstr>1_Office Theme</vt:lpstr>
      <vt:lpstr>OSU Slide Master</vt:lpstr>
      <vt:lpstr>Theme1</vt:lpstr>
      <vt:lpstr>Retrospect OSU</vt:lpstr>
      <vt:lpstr>think-cell Slide</vt:lpstr>
      <vt:lpstr>UHR/PAYROLL FORUM</vt:lpstr>
      <vt:lpstr>General Information</vt:lpstr>
      <vt:lpstr>Agenda</vt:lpstr>
      <vt:lpstr>Announcements</vt:lpstr>
      <vt:lpstr>Announcement – Financial Literacy Month</vt:lpstr>
      <vt:lpstr>Announcement – AMP </vt:lpstr>
      <vt:lpstr>Rec Sports 3-day pass overview</vt:lpstr>
      <vt:lpstr>Benefits Triple Process</vt:lpstr>
      <vt:lpstr>Process Deadline</vt:lpstr>
      <vt:lpstr>Summer Health Insurance – Grad Assistants</vt:lpstr>
      <vt:lpstr>Summer Health Insurance – Grad Employees</vt:lpstr>
      <vt:lpstr>Fixed-Term Academic  Faculty Renewals for FY/AY 2026-27</vt:lpstr>
      <vt:lpstr>Quick Refresh:  What are Fixed-Term Academic Renewals?</vt:lpstr>
      <vt:lpstr> 2026-27 Fixed-Term Academic Faculty Renewal Timeline</vt:lpstr>
      <vt:lpstr>PowerPoint Presentation</vt:lpstr>
      <vt:lpstr>Register to Use the Application</vt:lpstr>
      <vt:lpstr>Log-In</vt:lpstr>
      <vt:lpstr>Steps to Record Renewal Decisions</vt:lpstr>
      <vt:lpstr>Steps to Record Renewal Decisions</vt:lpstr>
      <vt:lpstr>Steps to Record Renewal Decisions</vt:lpstr>
      <vt:lpstr>Steps to Record Renewal Decisions</vt:lpstr>
      <vt:lpstr>Steps to Record Renewal Decisions</vt:lpstr>
      <vt:lpstr>Steps to Record Renewal Decisions</vt:lpstr>
      <vt:lpstr>Help with the Online Tool</vt:lpstr>
      <vt:lpstr>Renewal Decision Guidance</vt:lpstr>
      <vt:lpstr>PowerPoint Presentation</vt:lpstr>
      <vt:lpstr>What  Happens After “Uncertain”</vt:lpstr>
      <vt:lpstr>Advance Notice of Non-Renewal At a Glance</vt:lpstr>
      <vt:lpstr>Notices of Appointment (NOA)</vt:lpstr>
      <vt:lpstr>PowerPoint Presentation</vt:lpstr>
      <vt:lpstr>Questions?</vt:lpstr>
      <vt:lpstr>Final Questions?</vt:lpstr>
      <vt:lpstr>THANK YOU</vt:lpstr>
    </vt:vector>
  </TitlesOfParts>
  <Company>Oregon Stat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R/Payroll Forum</dc:title>
  <dc:creator>Ray, Bonny</dc:creator>
  <cp:lastModifiedBy>Kilgore, Meg</cp:lastModifiedBy>
  <cp:revision>4075</cp:revision>
  <cp:lastPrinted>2023-08-11T15:56:18Z</cp:lastPrinted>
  <dcterms:created xsi:type="dcterms:W3CDTF">2022-10-28T02:53:34Z</dcterms:created>
  <dcterms:modified xsi:type="dcterms:W3CDTF">2026-04-16T18:44:13Z</dcterms:modified>
</cp:coreProperties>
</file>